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5"/>
  </p:notesMasterIdLst>
  <p:sldIdLst>
    <p:sldId id="260" r:id="rId5"/>
    <p:sldId id="371" r:id="rId6"/>
    <p:sldId id="733" r:id="rId7"/>
    <p:sldId id="727" r:id="rId8"/>
    <p:sldId id="728" r:id="rId9"/>
    <p:sldId id="370" r:id="rId10"/>
    <p:sldId id="731" r:id="rId11"/>
    <p:sldId id="729" r:id="rId12"/>
    <p:sldId id="730" r:id="rId13"/>
    <p:sldId id="724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lien Vortrag" id="{DAEF75BB-7CD3-4738-83A6-7BA9C0897736}">
          <p14:sldIdLst>
            <p14:sldId id="260"/>
            <p14:sldId id="371"/>
            <p14:sldId id="733"/>
            <p14:sldId id="727"/>
            <p14:sldId id="728"/>
            <p14:sldId id="370"/>
            <p14:sldId id="731"/>
          </p14:sldIdLst>
        </p14:section>
        <p14:section name="Anzeige Live auf zweitem Bildschirm" id="{296FAA83-CE20-49AC-B0D9-A477EF3813D3}">
          <p14:sldIdLst>
            <p14:sldId id="729"/>
            <p14:sldId id="730"/>
            <p14:sldId id="72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F2AD2E-94DC-F567-299D-0F0DD77F36A6}" v="3" dt="2023-04-21T09:19:49.5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6881" autoAdjust="0"/>
  </p:normalViewPr>
  <p:slideViewPr>
    <p:cSldViewPr snapToGrid="0" showGuides="1">
      <p:cViewPr varScale="1">
        <p:scale>
          <a:sx n="96" d="100"/>
          <a:sy n="96" d="100"/>
        </p:scale>
        <p:origin x="10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etz, Michael" userId="S::michael.muetz@trumpf.com::2dbfabcb-b536-4ded-94fa-5775fea9cff0" providerId="AD" clId="Web-{BFF2AD2E-94DC-F567-299D-0F0DD77F36A6}"/>
    <pc:docChg chg="modSld">
      <pc:chgData name="Muetz, Michael" userId="S::michael.muetz@trumpf.com::2dbfabcb-b536-4ded-94fa-5775fea9cff0" providerId="AD" clId="Web-{BFF2AD2E-94DC-F567-299D-0F0DD77F36A6}" dt="2023-04-21T09:19:48.371" v="0" actId="20577"/>
      <pc:docMkLst>
        <pc:docMk/>
      </pc:docMkLst>
      <pc:sldChg chg="modSp">
        <pc:chgData name="Muetz, Michael" userId="S::michael.muetz@trumpf.com::2dbfabcb-b536-4ded-94fa-5775fea9cff0" providerId="AD" clId="Web-{BFF2AD2E-94DC-F567-299D-0F0DD77F36A6}" dt="2023-04-21T09:19:48.371" v="0" actId="20577"/>
        <pc:sldMkLst>
          <pc:docMk/>
          <pc:sldMk cId="3686940502" sldId="260"/>
        </pc:sldMkLst>
        <pc:spChg chg="mod">
          <ac:chgData name="Muetz, Michael" userId="S::michael.muetz@trumpf.com::2dbfabcb-b536-4ded-94fa-5775fea9cff0" providerId="AD" clId="Web-{BFF2AD2E-94DC-F567-299D-0F0DD77F36A6}" dt="2023-04-21T09:19:48.371" v="0" actId="20577"/>
          <ac:spMkLst>
            <pc:docMk/>
            <pc:sldMk cId="3686940502" sldId="260"/>
            <ac:spMk id="3" creationId="{D557B8CF-A624-AC5B-7CF0-DC0F6E78FD2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E2F75-20CC-47C0-88D5-B5C454FE6E70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74A5E3-58B0-41D1-B344-32529812B18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687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2958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grammierung -&gt; Biege- &amp; Schneidteile</a:t>
            </a:r>
          </a:p>
          <a:p>
            <a:r>
              <a:rPr lang="de-DE" dirty="0"/>
              <a:t>Schneiden/Stanzen -&gt; 5 Anlagen (Großteil auf 2 Maschinen am STOPA Hochregal)</a:t>
            </a:r>
          </a:p>
          <a:p>
            <a:r>
              <a:rPr lang="de-DE" dirty="0"/>
              <a:t>Richten/Entgraten/Bolzen-/Mutternschweißen</a:t>
            </a:r>
          </a:p>
          <a:p>
            <a:r>
              <a:rPr lang="de-DE" dirty="0"/>
              <a:t>Biegen - 5 Maschinen manuell, 3 Maschinen automatisie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Lackieren extern</a:t>
            </a:r>
          </a:p>
          <a:p>
            <a:endParaRPr lang="de-DE" dirty="0"/>
          </a:p>
          <a:p>
            <a:r>
              <a:rPr lang="de-DE" dirty="0"/>
              <a:t>Entwicklungsprojekte (Maschinen, als auch Softwar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005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rt mit den heutigen Herausforderungen in der Blechfertigu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6143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ösungsansatz = Pay-per-Part-Modell</a:t>
            </a:r>
          </a:p>
          <a:p>
            <a:endParaRPr lang="de-DE" dirty="0"/>
          </a:p>
          <a:p>
            <a:r>
              <a:rPr lang="de-DE" dirty="0"/>
              <a:t>- Infos zur Maschine (Blechformat, max. Stärke, …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1984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257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Angabe wann man das Teil haben möchte um es dem nächsten Prozessschritt in der Fertigung zuzuführen.</a:t>
            </a:r>
          </a:p>
          <a:p>
            <a:pPr marL="171450" indent="-171450">
              <a:buFontTx/>
              <a:buChar char="-"/>
            </a:pPr>
            <a:r>
              <a:rPr lang="de-DE" dirty="0"/>
              <a:t>.</a:t>
            </a:r>
            <a:r>
              <a:rPr lang="de-DE" dirty="0" err="1"/>
              <a:t>geo</a:t>
            </a:r>
            <a:r>
              <a:rPr lang="de-DE" dirty="0"/>
              <a:t> oder .</a:t>
            </a:r>
            <a:r>
              <a:rPr lang="de-DE" dirty="0" err="1"/>
              <a:t>dxf</a:t>
            </a:r>
            <a:r>
              <a:rPr lang="de-DE" dirty="0"/>
              <a:t> Dateien werden per Drag &amp; Drop in das Feld gezogen.</a:t>
            </a:r>
          </a:p>
          <a:p>
            <a:pPr marL="171450" indent="-171450">
              <a:buFontTx/>
              <a:buChar char="-"/>
            </a:pPr>
            <a:r>
              <a:rPr lang="de-DE" dirty="0"/>
              <a:t>Angaben die zum Laserschneiden notwendig sind.</a:t>
            </a:r>
          </a:p>
          <a:p>
            <a:pPr marL="171450" indent="-171450">
              <a:buFontTx/>
              <a:buChar char="-"/>
            </a:pPr>
            <a:r>
              <a:rPr lang="de-DE" dirty="0"/>
              <a:t>Nach wenigen Sekunden erhält man einen Preis: Dieser ist fix und garantiert.</a:t>
            </a:r>
          </a:p>
          <a:p>
            <a:pPr marL="171450" indent="-171450">
              <a:buFontTx/>
              <a:buChar char="-"/>
            </a:pPr>
            <a:r>
              <a:rPr lang="de-DE" dirty="0"/>
              <a:t>Mit dem Klick auf Angebot akzeptieren kann man die fertigen Teile aus dem Lager nehmen. Den Rest erledigt TRUMPF im Hintergrund.</a:t>
            </a:r>
          </a:p>
          <a:p>
            <a:pPr marL="0" indent="0">
              <a:buFontTx/>
              <a:buNone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&gt;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Faktoren mit dem Ziel gegenseitigen Vorteil zu schaffen. </a:t>
            </a:r>
            <a:r>
              <a:rPr lang="de-DE" sz="1200" b="1" dirty="0">
                <a:latin typeface="Arial" panose="020B0604020202020204" pitchFamily="34" charset="0"/>
              </a:rPr>
              <a:t>Priorität der Bestellung nach Lieferzeitpunkt in der Zukunft. Kunde erhält bei rechtzeitiger Bestellung Rabatt und wir haben Zeit um optimal zu schachteln.</a:t>
            </a:r>
            <a:endParaRPr lang="de-DE" sz="1200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latin typeface="Arial" panose="020B0604020202020204" pitchFamily="34" charset="0"/>
              </a:rPr>
              <a:t>Geschätzte Bearbeitungsze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latin typeface="Arial" panose="020B0604020202020204" pitchFamily="34" charset="0"/>
              </a:rPr>
              <a:t>Steigender Rabatt mit steigendem Bestellvolu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latin typeface="Arial" panose="020B0604020202020204" pitchFamily="34" charset="0"/>
              </a:rPr>
              <a:t>Priorität der Bestellung nach Lieferzeitpunkt in der Zukunft</a:t>
            </a:r>
            <a:endParaRPr lang="de-DE" sz="1200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>
                <a:latin typeface="Arial" panose="020B0604020202020204" pitchFamily="34" charset="0"/>
              </a:rPr>
              <a:t>Festpreis je bestellter Geometrie</a:t>
            </a:r>
          </a:p>
          <a:p>
            <a:pPr marL="0" indent="0">
              <a:buFontTx/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74A5E3-58B0-41D1-B344-32529812B18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60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61F7B8DE-74C3-45A1-9176-E149ECFB2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4" y="0"/>
            <a:ext cx="12188825" cy="6858000"/>
          </a:xfrm>
          <a:custGeom>
            <a:avLst/>
            <a:gdLst>
              <a:gd name="connsiteX0" fmla="*/ 0 w 12188825"/>
              <a:gd name="connsiteY0" fmla="*/ 0 h 6858000"/>
              <a:gd name="connsiteX1" fmla="*/ 12188825 w 12188825"/>
              <a:gd name="connsiteY1" fmla="*/ 0 h 6858000"/>
              <a:gd name="connsiteX2" fmla="*/ 12188825 w 12188825"/>
              <a:gd name="connsiteY2" fmla="*/ 6858000 h 6858000"/>
              <a:gd name="connsiteX3" fmla="*/ 0 w 12188825"/>
              <a:gd name="connsiteY3" fmla="*/ 6858000 h 6858000"/>
              <a:gd name="connsiteX4" fmla="*/ 0 w 12188825"/>
              <a:gd name="connsiteY4" fmla="*/ 6262256 h 6858000"/>
              <a:gd name="connsiteX5" fmla="*/ 5387301 w 12188825"/>
              <a:gd name="connsiteY5" fmla="*/ 6262256 h 6858000"/>
              <a:gd name="connsiteX6" fmla="*/ 5387301 w 12188825"/>
              <a:gd name="connsiteY6" fmla="*/ 3043223 h 6858000"/>
              <a:gd name="connsiteX7" fmla="*/ 0 w 12188825"/>
              <a:gd name="connsiteY7" fmla="*/ 30432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6858000"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lnTo>
                  <a:pt x="0" y="6262256"/>
                </a:lnTo>
                <a:lnTo>
                  <a:pt x="5387301" y="6262256"/>
                </a:lnTo>
                <a:lnTo>
                  <a:pt x="5387301" y="3043223"/>
                </a:lnTo>
                <a:lnTo>
                  <a:pt x="0" y="30432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98351"/>
            <a:ext cx="4782950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824879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Jeanette Thumm Update </a:t>
            </a:r>
            <a:r>
              <a:rPr lang="de-DE" dirty="0" err="1"/>
              <a:t>Empower</a:t>
            </a:r>
            <a:endParaRPr lang="de-DE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2ED6E0A-5812-49BA-9B01-F8D9CF5441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7958" y="3174416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8101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5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5" y="14908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5" y="37752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62914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87363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514214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0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5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351233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84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6733" y="333376"/>
            <a:ext cx="7901402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273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163" y="63273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0886" y="63273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6699" y="63305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56127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9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33375"/>
            <a:ext cx="7848600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1828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958B8C8-CAFE-42A7-8053-5C66C74F1E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6839277"/>
          </a:xfrm>
          <a:custGeom>
            <a:avLst/>
            <a:gdLst>
              <a:gd name="connsiteX0" fmla="*/ 1351215 w 3345700"/>
              <a:gd name="connsiteY0" fmla="*/ 6078036 h 6839277"/>
              <a:gd name="connsiteX1" fmla="*/ 1351215 w 3345700"/>
              <a:gd name="connsiteY1" fmla="*/ 6655074 h 6839277"/>
              <a:gd name="connsiteX2" fmla="*/ 3064869 w 3345700"/>
              <a:gd name="connsiteY2" fmla="*/ 6655074 h 6839277"/>
              <a:gd name="connsiteX3" fmla="*/ 3064869 w 3345700"/>
              <a:gd name="connsiteY3" fmla="*/ 6078036 h 6839277"/>
              <a:gd name="connsiteX4" fmla="*/ 0 w 3345700"/>
              <a:gd name="connsiteY4" fmla="*/ 0 h 6839277"/>
              <a:gd name="connsiteX5" fmla="*/ 3345700 w 3345700"/>
              <a:gd name="connsiteY5" fmla="*/ 0 h 6839277"/>
              <a:gd name="connsiteX6" fmla="*/ 3345700 w 3345700"/>
              <a:gd name="connsiteY6" fmla="*/ 6839277 h 6839277"/>
              <a:gd name="connsiteX7" fmla="*/ 0 w 3345700"/>
              <a:gd name="connsiteY7" fmla="*/ 6839277 h 68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5700" h="6839277">
                <a:moveTo>
                  <a:pt x="1351215" y="6078036"/>
                </a:moveTo>
                <a:lnTo>
                  <a:pt x="1351215" y="6655074"/>
                </a:lnTo>
                <a:lnTo>
                  <a:pt x="3064869" y="6655074"/>
                </a:lnTo>
                <a:lnTo>
                  <a:pt x="3064869" y="6078036"/>
                </a:lnTo>
                <a:close/>
                <a:moveTo>
                  <a:pt x="0" y="0"/>
                </a:moveTo>
                <a:lnTo>
                  <a:pt x="3345700" y="0"/>
                </a:lnTo>
                <a:lnTo>
                  <a:pt x="3345700" y="6839277"/>
                </a:lnTo>
                <a:lnTo>
                  <a:pt x="0" y="683927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522267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77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C8BAD16-C6D0-4B88-BA37-4527FC9F77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3"/>
            <a:ext cx="7839357" cy="4821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193185265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297186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2745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 dirty="0"/>
              <a:t>Bild hinzufügen I Add a </a:t>
            </a:r>
            <a:r>
              <a:rPr lang="de-DE" dirty="0" err="1"/>
              <a:t>picture</a:t>
            </a:r>
            <a:endParaRPr lang="de-DE" dirty="0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11851322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28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355352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e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  <a:p>
            <a:pPr lvl="0" algn="ctr"/>
            <a:endParaRPr lang="de-DE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50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86915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5064345"/>
            <a:ext cx="8691562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Jeanette Thumm Update </a:t>
            </a:r>
            <a:r>
              <a:rPr lang="de-DE" dirty="0" err="1"/>
              <a:t>Empower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739012-BDAA-4348-838C-987BE3160A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3010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4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65506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9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79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79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79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80762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2062261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270C4C5-5317-4919-8DB5-0485BE30CDC2}"/>
              </a:ext>
            </a:extLst>
          </p:cNvPr>
          <p:cNvSpPr/>
          <p:nvPr userDrawn="1"/>
        </p:nvSpPr>
        <p:spPr>
          <a:xfrm>
            <a:off x="10274300" y="6070600"/>
            <a:ext cx="1746463" cy="592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D8653A3-71E5-4997-B94D-F2FFDBEE6BE9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286809 w 2171700"/>
              <a:gd name="connsiteY0" fmla="*/ 4870854 h 5661025"/>
              <a:gd name="connsiteX1" fmla="*/ 286809 w 2171700"/>
              <a:gd name="connsiteY1" fmla="*/ 5447892 h 5661025"/>
              <a:gd name="connsiteX2" fmla="*/ 2000463 w 2171700"/>
              <a:gd name="connsiteY2" fmla="*/ 5447892 h 5661025"/>
              <a:gd name="connsiteX3" fmla="*/ 2000463 w 2171700"/>
              <a:gd name="connsiteY3" fmla="*/ 4870854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286809" y="4870854"/>
                </a:moveTo>
                <a:lnTo>
                  <a:pt x="286809" y="5447892"/>
                </a:lnTo>
                <a:lnTo>
                  <a:pt x="2000463" y="5447892"/>
                </a:lnTo>
                <a:lnTo>
                  <a:pt x="2000463" y="4870854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Text einfüg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BD1B383-FEFA-44B4-B800-D5FFD0DDC7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751BBC-031E-42A8-BA7F-DB4862A086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07109" y="6067829"/>
            <a:ext cx="1713654" cy="57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993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6675533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849174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bearbeiten I Edit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5FF205B-376C-4039-99A2-CE5D3577282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9544189" y="3131527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688798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52068B-45B4-4995-89D4-76549E8FF8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17367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 dirty="0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 dirty="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dirty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 dirty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hone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E-mail</a:t>
            </a:r>
            <a:r>
              <a:rPr lang="de-DE" dirty="0"/>
              <a:t> </a:t>
            </a:r>
            <a:r>
              <a:rPr lang="de-DE" dirty="0" err="1"/>
              <a:t>address</a:t>
            </a:r>
            <a:endParaRPr lang="de-DE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B7B5B0C-1AD3-4DB7-B48F-F05E7BE735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73371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278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Titel I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5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2000" b="0" dirty="0">
                <a:solidFill>
                  <a:schemeClr val="accent4"/>
                </a:solidFill>
              </a:defRPr>
            </a:lvl1pPr>
          </a:lstStyle>
          <a:p>
            <a:pPr lvl="0" algn="ctr"/>
            <a:r>
              <a:rPr lang="de-DE" dirty="0"/>
              <a:t>Bild durch Klicken auf Symbol hinzufügen I 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  <a:r>
              <a:rPr lang="de-DE" dirty="0" err="1"/>
              <a:t>icon</a:t>
            </a:r>
            <a:endParaRPr lang="en-US" dirty="0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6007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Dachzeile I </a:t>
            </a:r>
            <a:r>
              <a:rPr lang="de-DE" dirty="0" err="1"/>
              <a:t>O</a:t>
            </a:r>
            <a:r>
              <a:rPr lang="de-DE" b="0" i="0" dirty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 dirty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CC90D94-1694-408E-ACC5-1A98DAEA84E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0862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74663"/>
            <a:ext cx="11160125" cy="318665"/>
          </a:xfrm>
        </p:spPr>
        <p:txBody>
          <a:bodyPr vert="horz"/>
          <a:lstStyle>
            <a:lvl1pPr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1FF463F-7FBF-4DC6-8720-3FD91D564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976086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03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 dirty="0"/>
              <a:t>Untertitel I </a:t>
            </a:r>
            <a:r>
              <a:rPr lang="de-DE" dirty="0" err="1"/>
              <a:t>Subtitles</a:t>
            </a:r>
            <a:endParaRPr lang="de-DE" dirty="0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5AEC9C-974A-4A12-A4A1-F9CC2FA81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351765649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folie_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7092828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64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4" y="333375"/>
            <a:ext cx="5510856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E6C3D5C7-6C25-4745-BF31-C511F59A2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CA0514DA-B83B-43CA-831A-887FA1B6C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7FEC9BB5-BB03-4D9C-84E4-F96931FFA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678600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61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8654251A-3CCD-A24E-8979-624593CB2E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3860" y="285032"/>
            <a:ext cx="5300638" cy="79352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schrift I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14575" y="1525771"/>
            <a:ext cx="5277133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414575" y="3896141"/>
            <a:ext cx="5277133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3676" y="2155035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423675" y="4417187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b="0" dirty="0">
                <a:solidFill>
                  <a:schemeClr val="accent1"/>
                </a:solidFill>
              </a:rPr>
              <a:t>|</a:t>
            </a:r>
            <a:endParaRPr lang="de-DE" sz="900" b="0" dirty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  <a:endParaRPr lang="de-DE" dirty="0"/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14250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52355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53" imgH="353" progId="TCLayout.ActiveDocument.1">
                  <p:embed/>
                </p:oleObj>
              </mc:Choice>
              <mc:Fallback>
                <p:oleObj name="think-cell Folie" r:id="rId31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#›</a:t>
            </a:fld>
            <a:r>
              <a:rPr lang="de-DE" dirty="0"/>
              <a:t>  |</a:t>
            </a:r>
            <a:endParaRPr lang="de-DE" sz="9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74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73B8A5C4-6BDB-4ACF-8BA9-7078118229D4}" type="datetime1">
              <a:rPr lang="de-DE"/>
              <a:pPr/>
              <a:t>21.04.2023</a:t>
            </a:fld>
            <a:r>
              <a:rPr lang="de-DE" dirty="0"/>
              <a:t> I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/>
            <a:endParaRPr lang="de-DE" dirty="0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8AA3B-B076-4FC3-86A9-1B6A560113C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0169826" y="6048375"/>
            <a:ext cx="1817476" cy="61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06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Tx/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>
          <p15:clr>
            <a:srgbClr val="F26B43"/>
          </p15:clr>
        </p15:guide>
        <p15:guide id="2" pos="325">
          <p15:clr>
            <a:srgbClr val="F26B43"/>
          </p15:clr>
        </p15:guide>
        <p15:guide id="3" orient="horz" pos="4137">
          <p15:clr>
            <a:srgbClr val="F26B43"/>
          </p15:clr>
        </p15:guide>
        <p15:guide id="4" pos="7491">
          <p15:clr>
            <a:srgbClr val="F26B43"/>
          </p15:clr>
        </p15:guide>
        <p15:guide id="6" pos="189">
          <p15:clr>
            <a:srgbClr val="F26B43"/>
          </p15:clr>
        </p15:guide>
        <p15:guide id="7" orient="horz" pos="323">
          <p15:clr>
            <a:srgbClr val="F26B43"/>
          </p15:clr>
        </p15:guide>
        <p15:guide id="8" orient="horz" pos="3997">
          <p15:clr>
            <a:srgbClr val="F26B43"/>
          </p15:clr>
        </p15:guide>
        <p15:guide id="9" pos="7355">
          <p15:clr>
            <a:srgbClr val="F26B43"/>
          </p15:clr>
        </p15:guide>
        <p15:guide id="10" orient="horz" pos="935">
          <p15:clr>
            <a:srgbClr val="F26B43"/>
          </p15:clr>
        </p15:guide>
        <p15:guide id="12" orient="horz" pos="3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27.xml"/><Relationship Id="rId16" Type="http://schemas.openxmlformats.org/officeDocument/2006/relationships/image" Target="../media/image18.png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7.svg"/><Relationship Id="rId10" Type="http://schemas.openxmlformats.org/officeDocument/2006/relationships/image" Target="../media/image12.jpeg"/><Relationship Id="rId19" Type="http://schemas.openxmlformats.org/officeDocument/2006/relationships/image" Target="../media/image21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1.jpe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27.svg"/><Relationship Id="rId26" Type="http://schemas.openxmlformats.org/officeDocument/2006/relationships/image" Target="../media/image35.png"/><Relationship Id="rId3" Type="http://schemas.openxmlformats.org/officeDocument/2006/relationships/tags" Target="../tags/tag31.xml"/><Relationship Id="rId21" Type="http://schemas.openxmlformats.org/officeDocument/2006/relationships/image" Target="../media/image30.svg"/><Relationship Id="rId7" Type="http://schemas.openxmlformats.org/officeDocument/2006/relationships/tags" Target="../tags/tag35.xml"/><Relationship Id="rId12" Type="http://schemas.openxmlformats.org/officeDocument/2006/relationships/slideLayout" Target="../slideLayouts/slideLayout5.xml"/><Relationship Id="rId17" Type="http://schemas.openxmlformats.org/officeDocument/2006/relationships/image" Target="../media/image26.png"/><Relationship Id="rId25" Type="http://schemas.openxmlformats.org/officeDocument/2006/relationships/image" Target="../media/image34.svg"/><Relationship Id="rId2" Type="http://schemas.openxmlformats.org/officeDocument/2006/relationships/tags" Target="../tags/tag30.xml"/><Relationship Id="rId16" Type="http://schemas.openxmlformats.org/officeDocument/2006/relationships/image" Target="../media/image25.svg"/><Relationship Id="rId20" Type="http://schemas.openxmlformats.org/officeDocument/2006/relationships/image" Target="../media/image29.png"/><Relationship Id="rId29" Type="http://schemas.openxmlformats.org/officeDocument/2006/relationships/image" Target="../media/image38.sv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33.png"/><Relationship Id="rId32" Type="http://schemas.openxmlformats.org/officeDocument/2006/relationships/image" Target="../media/image41.jpeg"/><Relationship Id="rId5" Type="http://schemas.openxmlformats.org/officeDocument/2006/relationships/tags" Target="../tags/tag33.xml"/><Relationship Id="rId15" Type="http://schemas.openxmlformats.org/officeDocument/2006/relationships/image" Target="../media/image24.png"/><Relationship Id="rId23" Type="http://schemas.openxmlformats.org/officeDocument/2006/relationships/image" Target="../media/image32.svg"/><Relationship Id="rId28" Type="http://schemas.openxmlformats.org/officeDocument/2006/relationships/image" Target="../media/image37.png"/><Relationship Id="rId10" Type="http://schemas.openxmlformats.org/officeDocument/2006/relationships/tags" Target="../tags/tag38.xml"/><Relationship Id="rId19" Type="http://schemas.openxmlformats.org/officeDocument/2006/relationships/image" Target="../media/image28.png"/><Relationship Id="rId31" Type="http://schemas.openxmlformats.org/officeDocument/2006/relationships/image" Target="../media/image40.sv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svg"/><Relationship Id="rId30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rafik 42">
            <a:extLst>
              <a:ext uri="{FF2B5EF4-FFF2-40B4-BE49-F238E27FC236}">
                <a16:creationId xmlns:a16="http://schemas.microsoft.com/office/drawing/2014/main" id="{CFA9899E-4966-9F60-5910-68167A31C9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t="30768" r="17280" b="20998"/>
          <a:stretch/>
        </p:blipFill>
        <p:spPr>
          <a:xfrm>
            <a:off x="-58055" y="-190500"/>
            <a:ext cx="12402456" cy="723559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04E82B7-EB44-436F-30C5-98BECCDDD0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10585677" cy="1064355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TRUMPF Pay-per-Part-Geschäftsmodell</a:t>
            </a:r>
            <a:br>
              <a:rPr lang="de-DE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50000"/>
                  </a:schemeClr>
                </a:solidFill>
              </a:rPr>
              <a:t>Einsatz von Remote Control in der Blechfertigun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557B8CF-A624-AC5B-7CF0-DC0F6E78FD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Lean Lernreise | 27.04.2023</a:t>
            </a:r>
            <a:endParaRPr lang="de-DE" dirty="0">
              <a:solidFill>
                <a:schemeClr val="tx1"/>
              </a:solidFill>
              <a:cs typeface="Segoe UI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35E774-E84F-AA12-043D-4F2A155AA8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409074"/>
            <a:ext cx="4782950" cy="936163"/>
          </a:xfrm>
        </p:spPr>
        <p:txBody>
          <a:bodyPr/>
          <a:lstStyle/>
          <a:p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Michael Mütz</a:t>
            </a:r>
          </a:p>
          <a:p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Head </a:t>
            </a:r>
            <a:r>
              <a:rPr lang="de-DE" dirty="0" err="1">
                <a:solidFill>
                  <a:schemeClr val="tx1">
                    <a:lumMod val="50000"/>
                  </a:schemeClr>
                </a:solidFill>
              </a:rPr>
              <a:t>of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 Sheet </a:t>
            </a:r>
            <a:r>
              <a:rPr lang="de-DE" dirty="0" err="1">
                <a:solidFill>
                  <a:schemeClr val="tx1">
                    <a:lumMod val="50000"/>
                  </a:schemeClr>
                </a:solidFill>
              </a:rPr>
              <a:t>Metal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tx1">
                    <a:lumMod val="50000"/>
                  </a:schemeClr>
                </a:solidFill>
              </a:rPr>
              <a:t>Fabrication</a:t>
            </a:r>
            <a:r>
              <a:rPr lang="de-DE" dirty="0">
                <a:solidFill>
                  <a:schemeClr val="tx1">
                    <a:lumMod val="50000"/>
                  </a:schemeClr>
                </a:solidFill>
              </a:rPr>
              <a:t> - Parts </a:t>
            </a:r>
            <a:r>
              <a:rPr lang="de-DE" dirty="0" err="1">
                <a:solidFill>
                  <a:schemeClr val="tx1">
                    <a:lumMod val="50000"/>
                  </a:schemeClr>
                </a:solidFill>
              </a:rPr>
              <a:t>Production</a:t>
            </a:r>
            <a:endParaRPr lang="de-DE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9405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D775ED0-6209-7D00-7085-773934C548A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F8198B3B-1051-091B-ECC4-8A7641FCA5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C37A8C9-8027-0656-918C-81D521C34CE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4034056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Inhaltsplatzhalter 5">
            <a:extLst>
              <a:ext uri="{FF2B5EF4-FFF2-40B4-BE49-F238E27FC236}">
                <a16:creationId xmlns:a16="http://schemas.microsoft.com/office/drawing/2014/main" id="{1B501293-46B7-ED68-6BD1-C9C722DCDF9B}"/>
              </a:ext>
            </a:extLst>
          </p:cNvPr>
          <p:cNvSpPr txBox="1">
            <a:spLocks/>
          </p:cNvSpPr>
          <p:nvPr/>
        </p:nvSpPr>
        <p:spPr>
          <a:xfrm>
            <a:off x="515938" y="1483199"/>
            <a:ext cx="11160125" cy="4862039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Herstellung von Blech-Einzelteilen &amp; Blech-Baugruppen auf TRUMPF Maschinen </a:t>
            </a:r>
          </a:p>
          <a:p>
            <a:pPr marL="542925" lvl="2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de-DE" dirty="0"/>
              <a:t>für TRUMPF Produkte (keine Fertigung für ext. Kunden)</a:t>
            </a:r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Prozessschritte in der Blechfertigung</a:t>
            </a:r>
          </a:p>
          <a:p>
            <a:pPr lvl="2" indent="0">
              <a:spcBef>
                <a:spcPts val="0"/>
              </a:spcBef>
              <a:spcAft>
                <a:spcPts val="600"/>
              </a:spcAft>
              <a:buNone/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endParaRPr lang="de-DE" dirty="0"/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Nutzung neuster TRUMPF Produkte im Customer Center</a:t>
            </a:r>
          </a:p>
          <a:p>
            <a:pPr marL="990900" lvl="4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Maschinen </a:t>
            </a:r>
          </a:p>
          <a:p>
            <a:pPr marL="990900" lvl="4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Softwarelösungen </a:t>
            </a:r>
          </a:p>
          <a:p>
            <a:pPr marL="558900" lvl="2" indent="-342900"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Testkunde für interne Entwicklungsprojekte</a:t>
            </a:r>
          </a:p>
        </p:txBody>
      </p:sp>
      <p:pic>
        <p:nvPicPr>
          <p:cNvPr id="114" name="Grafik 113">
            <a:extLst>
              <a:ext uri="{FF2B5EF4-FFF2-40B4-BE49-F238E27FC236}">
                <a16:creationId xmlns:a16="http://schemas.microsoft.com/office/drawing/2014/main" id="{B2A111A4-6768-A706-3A08-A814273345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0033" y="3608892"/>
            <a:ext cx="1716336" cy="111381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DA9E11D-F73F-B11C-95F4-3F2D096A1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 Berei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CC172BC-B3BB-8A29-AD2A-D4EA0F46B5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Blechfertigung im TRUMPF Customer Center</a:t>
            </a:r>
          </a:p>
        </p:txBody>
      </p: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996F68BF-BE9F-38C1-E773-EABE5B2719C3}"/>
              </a:ext>
            </a:extLst>
          </p:cNvPr>
          <p:cNvGrpSpPr/>
          <p:nvPr/>
        </p:nvGrpSpPr>
        <p:grpSpPr>
          <a:xfrm>
            <a:off x="9662221" y="4195024"/>
            <a:ext cx="2013717" cy="1634276"/>
            <a:chOff x="7619039" y="2248580"/>
            <a:chExt cx="2547890" cy="1782471"/>
          </a:xfrm>
        </p:grpSpPr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2DBC60C2-3407-1935-7A9D-3AAAEFD9F8B4}"/>
                </a:ext>
              </a:extLst>
            </p:cNvPr>
            <p:cNvGrpSpPr/>
            <p:nvPr/>
          </p:nvGrpSpPr>
          <p:grpSpPr>
            <a:xfrm>
              <a:off x="7619039" y="2248580"/>
              <a:ext cx="2547890" cy="1782471"/>
              <a:chOff x="10210882" y="3603766"/>
              <a:chExt cx="1450721" cy="1877536"/>
            </a:xfrm>
          </p:grpSpPr>
          <p:sp>
            <p:nvSpPr>
              <p:cNvPr id="105" name="Freeform 10">
                <a:extLst>
                  <a:ext uri="{FF2B5EF4-FFF2-40B4-BE49-F238E27FC236}">
                    <a16:creationId xmlns:a16="http://schemas.microsoft.com/office/drawing/2014/main" id="{4230A84C-28EA-FB37-B61F-D10D34614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0882" y="4000503"/>
                <a:ext cx="1450721" cy="14807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1200" b="1" dirty="0" err="1">
                    <a:solidFill>
                      <a:schemeClr val="accent3"/>
                    </a:solidFill>
                  </a:rPr>
                  <a:t>Kalenderjahr</a:t>
                </a:r>
                <a:r>
                  <a:rPr lang="en-US" sz="1200" b="1" dirty="0">
                    <a:solidFill>
                      <a:schemeClr val="accent3"/>
                    </a:solidFill>
                  </a:rPr>
                  <a:t> 2022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000" dirty="0" err="1">
                    <a:solidFill>
                      <a:schemeClr val="bg1">
                        <a:lumMod val="50000"/>
                      </a:schemeClr>
                    </a:solidFill>
                  </a:rPr>
                  <a:t>Teilevarianten</a:t>
                </a:r>
                <a:r>
                  <a:rPr lang="en-US" sz="1000" dirty="0">
                    <a:solidFill>
                      <a:schemeClr val="bg1">
                        <a:lumMod val="50000"/>
                      </a:schemeClr>
                    </a:solidFill>
                  </a:rPr>
                  <a:t>: 1.800 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000" dirty="0" err="1">
                    <a:solidFill>
                      <a:schemeClr val="bg1">
                        <a:lumMod val="50000"/>
                      </a:schemeClr>
                    </a:solidFill>
                  </a:rPr>
                  <a:t>Blechteile</a:t>
                </a:r>
                <a:r>
                  <a:rPr lang="en-US" sz="1000" dirty="0">
                    <a:solidFill>
                      <a:schemeClr val="bg1">
                        <a:lumMod val="50000"/>
                      </a:schemeClr>
                    </a:solidFill>
                  </a:rPr>
                  <a:t>: 520.000 Stk.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000" dirty="0" err="1">
                    <a:solidFill>
                      <a:schemeClr val="bg1">
                        <a:lumMod val="50000"/>
                      </a:schemeClr>
                    </a:solidFill>
                  </a:rPr>
                  <a:t>Fertigungsaufträge</a:t>
                </a:r>
                <a:r>
                  <a:rPr lang="en-US" sz="1000" dirty="0">
                    <a:solidFill>
                      <a:schemeClr val="bg1">
                        <a:lumMod val="50000"/>
                      </a:schemeClr>
                    </a:solidFill>
                  </a:rPr>
                  <a:t>: 12.500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sz="1000" dirty="0" err="1">
                    <a:solidFill>
                      <a:schemeClr val="bg1">
                        <a:lumMod val="50000"/>
                      </a:schemeClr>
                    </a:solidFill>
                  </a:rPr>
                  <a:t>Rohmaterialverbrauch</a:t>
                </a:r>
                <a:r>
                  <a:rPr lang="en-US" sz="1000" dirty="0">
                    <a:solidFill>
                      <a:schemeClr val="bg1">
                        <a:lumMod val="50000"/>
                      </a:schemeClr>
                    </a:solidFill>
                  </a:rPr>
                  <a:t>: 1.200t</a:t>
                </a:r>
              </a:p>
            </p:txBody>
          </p:sp>
          <p:sp>
            <p:nvSpPr>
              <p:cNvPr id="106" name="Freeform 11">
                <a:extLst>
                  <a:ext uri="{FF2B5EF4-FFF2-40B4-BE49-F238E27FC236}">
                    <a16:creationId xmlns:a16="http://schemas.microsoft.com/office/drawing/2014/main" id="{9CF3A823-9C1B-7770-D5E6-309E0E1EA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0882" y="3603766"/>
                <a:ext cx="1450721" cy="39673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th-TH" sz="675" dirty="0"/>
              </a:p>
            </p:txBody>
          </p:sp>
        </p:grpSp>
        <p:sp>
          <p:nvSpPr>
            <p:cNvPr id="104" name="Freeform 41">
              <a:extLst>
                <a:ext uri="{FF2B5EF4-FFF2-40B4-BE49-F238E27FC236}">
                  <a16:creationId xmlns:a16="http://schemas.microsoft.com/office/drawing/2014/main" id="{1934C078-81F7-7A18-85FA-ADCA1F0188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17227" y="2282578"/>
              <a:ext cx="351513" cy="295275"/>
            </a:xfrm>
            <a:custGeom>
              <a:avLst/>
              <a:gdLst/>
              <a:ahLst/>
              <a:cxnLst>
                <a:cxn ang="0">
                  <a:pos x="63" y="53"/>
                </a:cxn>
                <a:cxn ang="0">
                  <a:pos x="61" y="54"/>
                </a:cxn>
                <a:cxn ang="0">
                  <a:pos x="8" y="54"/>
                </a:cxn>
                <a:cxn ang="0">
                  <a:pos x="6" y="53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68" y="34"/>
                </a:cxn>
                <a:cxn ang="0">
                  <a:pos x="63" y="53"/>
                </a:cxn>
                <a:cxn ang="0">
                  <a:pos x="10" y="30"/>
                </a:cxn>
                <a:cxn ang="0">
                  <a:pos x="5" y="34"/>
                </a:cxn>
                <a:cxn ang="0">
                  <a:pos x="10" y="39"/>
                </a:cxn>
                <a:cxn ang="0">
                  <a:pos x="15" y="34"/>
                </a:cxn>
                <a:cxn ang="0">
                  <a:pos x="10" y="30"/>
                </a:cxn>
                <a:cxn ang="0">
                  <a:pos x="17" y="13"/>
                </a:cxn>
                <a:cxn ang="0">
                  <a:pos x="13" y="17"/>
                </a:cxn>
                <a:cxn ang="0">
                  <a:pos x="17" y="22"/>
                </a:cxn>
                <a:cxn ang="0">
                  <a:pos x="22" y="17"/>
                </a:cxn>
                <a:cxn ang="0">
                  <a:pos x="17" y="13"/>
                </a:cxn>
                <a:cxn ang="0">
                  <a:pos x="42" y="21"/>
                </a:cxn>
                <a:cxn ang="0">
                  <a:pos x="41" y="18"/>
                </a:cxn>
                <a:cxn ang="0">
                  <a:pos x="38" y="20"/>
                </a:cxn>
                <a:cxn ang="0">
                  <a:pos x="34" y="34"/>
                </a:cxn>
                <a:cxn ang="0">
                  <a:pos x="27" y="40"/>
                </a:cxn>
                <a:cxn ang="0">
                  <a:pos x="33" y="49"/>
                </a:cxn>
                <a:cxn ang="0">
                  <a:pos x="42" y="44"/>
                </a:cxn>
                <a:cxn ang="0">
                  <a:pos x="39" y="36"/>
                </a:cxn>
                <a:cxn ang="0">
                  <a:pos x="42" y="21"/>
                </a:cxn>
                <a:cxn ang="0">
                  <a:pos x="34" y="5"/>
                </a:cxn>
                <a:cxn ang="0">
                  <a:pos x="30" y="10"/>
                </a:cxn>
                <a:cxn ang="0">
                  <a:pos x="34" y="15"/>
                </a:cxn>
                <a:cxn ang="0">
                  <a:pos x="39" y="10"/>
                </a:cxn>
                <a:cxn ang="0">
                  <a:pos x="34" y="5"/>
                </a:cxn>
                <a:cxn ang="0">
                  <a:pos x="51" y="13"/>
                </a:cxn>
                <a:cxn ang="0">
                  <a:pos x="47" y="17"/>
                </a:cxn>
                <a:cxn ang="0">
                  <a:pos x="51" y="22"/>
                </a:cxn>
                <a:cxn ang="0">
                  <a:pos x="56" y="17"/>
                </a:cxn>
                <a:cxn ang="0">
                  <a:pos x="51" y="13"/>
                </a:cxn>
                <a:cxn ang="0">
                  <a:pos x="59" y="30"/>
                </a:cxn>
                <a:cxn ang="0">
                  <a:pos x="54" y="34"/>
                </a:cxn>
                <a:cxn ang="0">
                  <a:pos x="59" y="39"/>
                </a:cxn>
                <a:cxn ang="0">
                  <a:pos x="64" y="34"/>
                </a:cxn>
                <a:cxn ang="0">
                  <a:pos x="59" y="30"/>
                </a:cxn>
              </a:cxnLst>
              <a:rect l="0" t="0" r="r" b="b"/>
              <a:pathLst>
                <a:path w="68" h="54">
                  <a:moveTo>
                    <a:pt x="63" y="53"/>
                  </a:moveTo>
                  <a:cubicBezTo>
                    <a:pt x="63" y="53"/>
                    <a:pt x="62" y="54"/>
                    <a:pt x="61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7" y="54"/>
                    <a:pt x="6" y="53"/>
                    <a:pt x="6" y="53"/>
                  </a:cubicBezTo>
                  <a:cubicBezTo>
                    <a:pt x="2" y="47"/>
                    <a:pt x="0" y="41"/>
                    <a:pt x="0" y="34"/>
                  </a:cubicBezTo>
                  <a:cubicBezTo>
                    <a:pt x="0" y="16"/>
                    <a:pt x="16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41"/>
                    <a:pt x="67" y="47"/>
                    <a:pt x="63" y="53"/>
                  </a:cubicBezTo>
                  <a:close/>
                  <a:moveTo>
                    <a:pt x="10" y="30"/>
                  </a:moveTo>
                  <a:cubicBezTo>
                    <a:pt x="7" y="30"/>
                    <a:pt x="5" y="32"/>
                    <a:pt x="5" y="34"/>
                  </a:cubicBezTo>
                  <a:cubicBezTo>
                    <a:pt x="5" y="37"/>
                    <a:pt x="7" y="39"/>
                    <a:pt x="10" y="39"/>
                  </a:cubicBezTo>
                  <a:cubicBezTo>
                    <a:pt x="13" y="39"/>
                    <a:pt x="15" y="37"/>
                    <a:pt x="15" y="34"/>
                  </a:cubicBezTo>
                  <a:cubicBezTo>
                    <a:pt x="15" y="32"/>
                    <a:pt x="13" y="30"/>
                    <a:pt x="10" y="30"/>
                  </a:cubicBezTo>
                  <a:close/>
                  <a:moveTo>
                    <a:pt x="17" y="13"/>
                  </a:moveTo>
                  <a:cubicBezTo>
                    <a:pt x="15" y="13"/>
                    <a:pt x="13" y="15"/>
                    <a:pt x="13" y="17"/>
                  </a:cubicBezTo>
                  <a:cubicBezTo>
                    <a:pt x="13" y="20"/>
                    <a:pt x="15" y="22"/>
                    <a:pt x="17" y="22"/>
                  </a:cubicBezTo>
                  <a:cubicBezTo>
                    <a:pt x="20" y="22"/>
                    <a:pt x="22" y="20"/>
                    <a:pt x="22" y="17"/>
                  </a:cubicBezTo>
                  <a:cubicBezTo>
                    <a:pt x="22" y="15"/>
                    <a:pt x="20" y="13"/>
                    <a:pt x="17" y="13"/>
                  </a:cubicBezTo>
                  <a:close/>
                  <a:moveTo>
                    <a:pt x="42" y="21"/>
                  </a:moveTo>
                  <a:cubicBezTo>
                    <a:pt x="43" y="20"/>
                    <a:pt x="42" y="19"/>
                    <a:pt x="41" y="18"/>
                  </a:cubicBezTo>
                  <a:cubicBezTo>
                    <a:pt x="39" y="18"/>
                    <a:pt x="38" y="19"/>
                    <a:pt x="38" y="20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1" y="35"/>
                    <a:pt x="28" y="37"/>
                    <a:pt x="27" y="40"/>
                  </a:cubicBezTo>
                  <a:cubicBezTo>
                    <a:pt x="26" y="44"/>
                    <a:pt x="29" y="48"/>
                    <a:pt x="33" y="49"/>
                  </a:cubicBezTo>
                  <a:cubicBezTo>
                    <a:pt x="37" y="50"/>
                    <a:pt x="40" y="47"/>
                    <a:pt x="42" y="44"/>
                  </a:cubicBezTo>
                  <a:cubicBezTo>
                    <a:pt x="42" y="40"/>
                    <a:pt x="41" y="37"/>
                    <a:pt x="39" y="36"/>
                  </a:cubicBezTo>
                  <a:lnTo>
                    <a:pt x="42" y="21"/>
                  </a:lnTo>
                  <a:close/>
                  <a:moveTo>
                    <a:pt x="34" y="5"/>
                  </a:moveTo>
                  <a:cubicBezTo>
                    <a:pt x="32" y="5"/>
                    <a:pt x="30" y="7"/>
                    <a:pt x="30" y="10"/>
                  </a:cubicBezTo>
                  <a:cubicBezTo>
                    <a:pt x="30" y="13"/>
                    <a:pt x="32" y="15"/>
                    <a:pt x="34" y="15"/>
                  </a:cubicBezTo>
                  <a:cubicBezTo>
                    <a:pt x="37" y="15"/>
                    <a:pt x="39" y="13"/>
                    <a:pt x="39" y="10"/>
                  </a:cubicBezTo>
                  <a:cubicBezTo>
                    <a:pt x="39" y="7"/>
                    <a:pt x="37" y="5"/>
                    <a:pt x="34" y="5"/>
                  </a:cubicBezTo>
                  <a:close/>
                  <a:moveTo>
                    <a:pt x="51" y="13"/>
                  </a:moveTo>
                  <a:cubicBezTo>
                    <a:pt x="49" y="13"/>
                    <a:pt x="47" y="15"/>
                    <a:pt x="47" y="17"/>
                  </a:cubicBezTo>
                  <a:cubicBezTo>
                    <a:pt x="47" y="20"/>
                    <a:pt x="49" y="22"/>
                    <a:pt x="51" y="22"/>
                  </a:cubicBezTo>
                  <a:cubicBezTo>
                    <a:pt x="54" y="22"/>
                    <a:pt x="56" y="20"/>
                    <a:pt x="56" y="17"/>
                  </a:cubicBezTo>
                  <a:cubicBezTo>
                    <a:pt x="56" y="15"/>
                    <a:pt x="54" y="13"/>
                    <a:pt x="51" y="13"/>
                  </a:cubicBezTo>
                  <a:close/>
                  <a:moveTo>
                    <a:pt x="59" y="30"/>
                  </a:moveTo>
                  <a:cubicBezTo>
                    <a:pt x="56" y="30"/>
                    <a:pt x="54" y="32"/>
                    <a:pt x="54" y="34"/>
                  </a:cubicBezTo>
                  <a:cubicBezTo>
                    <a:pt x="54" y="37"/>
                    <a:pt x="56" y="39"/>
                    <a:pt x="59" y="39"/>
                  </a:cubicBezTo>
                  <a:cubicBezTo>
                    <a:pt x="61" y="39"/>
                    <a:pt x="64" y="37"/>
                    <a:pt x="64" y="34"/>
                  </a:cubicBezTo>
                  <a:cubicBezTo>
                    <a:pt x="64" y="32"/>
                    <a:pt x="61" y="30"/>
                    <a:pt x="59" y="3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12" name="Grafik 111">
            <a:extLst>
              <a:ext uri="{FF2B5EF4-FFF2-40B4-BE49-F238E27FC236}">
                <a16:creationId xmlns:a16="http://schemas.microsoft.com/office/drawing/2014/main" id="{C2046218-397D-403F-3841-46D821C9B6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82785" y="3601329"/>
            <a:ext cx="644289" cy="515431"/>
          </a:xfrm>
          <a:prstGeom prst="rect">
            <a:avLst/>
          </a:prstGeom>
        </p:spPr>
      </p:pic>
      <p:pic>
        <p:nvPicPr>
          <p:cNvPr id="123" name="Grafik 122">
            <a:extLst>
              <a:ext uri="{FF2B5EF4-FFF2-40B4-BE49-F238E27FC236}">
                <a16:creationId xmlns:a16="http://schemas.microsoft.com/office/drawing/2014/main" id="{26224924-D7CA-599A-BF1E-B1FFD7EC360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8225" b="18870"/>
          <a:stretch/>
        </p:blipFill>
        <p:spPr>
          <a:xfrm>
            <a:off x="3571489" y="3416557"/>
            <a:ext cx="768831" cy="1537264"/>
          </a:xfrm>
          <a:prstGeom prst="rect">
            <a:avLst/>
          </a:prstGeom>
        </p:spPr>
      </p:pic>
      <p:grpSp>
        <p:nvGrpSpPr>
          <p:cNvPr id="127" name="Arrow (2)">
            <a:extLst>
              <a:ext uri="{FF2B5EF4-FFF2-40B4-BE49-F238E27FC236}">
                <a16:creationId xmlns:a16="http://schemas.microsoft.com/office/drawing/2014/main" id="{8227B396-ACAB-F143-BA84-D91A8BE4B16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9243025" y="2662024"/>
            <a:ext cx="460909" cy="579793"/>
            <a:chOff x="5097258" y="2241315"/>
            <a:chExt cx="460909" cy="579793"/>
          </a:xfrm>
        </p:grpSpPr>
        <p:sp>
          <p:nvSpPr>
            <p:cNvPr id="125" name="Chevron 17">
              <a:extLst>
                <a:ext uri="{FF2B5EF4-FFF2-40B4-BE49-F238E27FC236}">
                  <a16:creationId xmlns:a16="http://schemas.microsoft.com/office/drawing/2014/main" id="{512B45C9-5264-D363-DABE-F277078E834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rgbClr val="93C11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6" name="Chevron 18">
              <a:extLst>
                <a:ext uri="{FF2B5EF4-FFF2-40B4-BE49-F238E27FC236}">
                  <a16:creationId xmlns:a16="http://schemas.microsoft.com/office/drawing/2014/main" id="{9F1E6CA8-6C97-ACAE-B11B-55D228B2DAC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281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27BE0C1-BB71-B0F1-BC0C-576DF00A6E27}"/>
              </a:ext>
            </a:extLst>
          </p:cNvPr>
          <p:cNvGrpSpPr/>
          <p:nvPr/>
        </p:nvGrpSpPr>
        <p:grpSpPr>
          <a:xfrm>
            <a:off x="1158463" y="2568658"/>
            <a:ext cx="7800035" cy="789153"/>
            <a:chOff x="250661" y="5584271"/>
            <a:chExt cx="9068613" cy="917499"/>
          </a:xfrm>
        </p:grpSpPr>
        <p:sp>
          <p:nvSpPr>
            <p:cNvPr id="2" name="Richtungspfeil 20">
              <a:extLst>
                <a:ext uri="{FF2B5EF4-FFF2-40B4-BE49-F238E27FC236}">
                  <a16:creationId xmlns:a16="http://schemas.microsoft.com/office/drawing/2014/main" id="{F9E895E8-2BF9-DAF5-4DDC-FD8B6E60E2B4}"/>
                </a:ext>
              </a:extLst>
            </p:cNvPr>
            <p:cNvSpPr>
              <a:spLocks/>
            </p:cNvSpPr>
            <p:nvPr/>
          </p:nvSpPr>
          <p:spPr>
            <a:xfrm>
              <a:off x="1393661" y="5587672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de-DE" sz="1000" b="1" dirty="0"/>
                <a:t>Schneiden/ Stanzen</a:t>
              </a:r>
            </a:p>
          </p:txBody>
        </p:sp>
        <p:sp>
          <p:nvSpPr>
            <p:cNvPr id="3" name="Richtungspfeil 16">
              <a:extLst>
                <a:ext uri="{FF2B5EF4-FFF2-40B4-BE49-F238E27FC236}">
                  <a16:creationId xmlns:a16="http://schemas.microsoft.com/office/drawing/2014/main" id="{BF1F7880-2FC5-F5B3-60A3-FAF8DD488007}"/>
                </a:ext>
              </a:extLst>
            </p:cNvPr>
            <p:cNvSpPr>
              <a:spLocks/>
            </p:cNvSpPr>
            <p:nvPr/>
          </p:nvSpPr>
          <p:spPr>
            <a:xfrm>
              <a:off x="2543895" y="5587672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de-DE" sz="1000" b="1" dirty="0"/>
                <a:t>Neben-prozesse</a:t>
              </a:r>
              <a:endParaRPr lang="de-DE" sz="1000" dirty="0"/>
            </a:p>
          </p:txBody>
        </p:sp>
        <p:sp>
          <p:nvSpPr>
            <p:cNvPr id="4" name="Richtungspfeil 16">
              <a:extLst>
                <a:ext uri="{FF2B5EF4-FFF2-40B4-BE49-F238E27FC236}">
                  <a16:creationId xmlns:a16="http://schemas.microsoft.com/office/drawing/2014/main" id="{7DBACDE5-98B8-674D-5102-D61ADCE24FBC}"/>
                </a:ext>
              </a:extLst>
            </p:cNvPr>
            <p:cNvSpPr>
              <a:spLocks/>
            </p:cNvSpPr>
            <p:nvPr/>
          </p:nvSpPr>
          <p:spPr>
            <a:xfrm>
              <a:off x="250661" y="5584272"/>
              <a:ext cx="1024208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de-DE" sz="1000" b="1" dirty="0"/>
                <a:t>Programmierung</a:t>
              </a:r>
            </a:p>
          </p:txBody>
        </p:sp>
        <p:sp>
          <p:nvSpPr>
            <p:cNvPr id="6" name="Richtungspfeil 20">
              <a:extLst>
                <a:ext uri="{FF2B5EF4-FFF2-40B4-BE49-F238E27FC236}">
                  <a16:creationId xmlns:a16="http://schemas.microsoft.com/office/drawing/2014/main" id="{8526012E-BCB0-D184-92E0-2B1C401E582C}"/>
                </a:ext>
              </a:extLst>
            </p:cNvPr>
            <p:cNvSpPr>
              <a:spLocks/>
            </p:cNvSpPr>
            <p:nvPr/>
          </p:nvSpPr>
          <p:spPr>
            <a:xfrm>
              <a:off x="3694129" y="5587672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600"/>
                </a:spcBef>
                <a:spcAft>
                  <a:spcPts val="1200"/>
                </a:spcAft>
              </a:pPr>
              <a:r>
                <a:rPr lang="de-DE" sz="1000" b="1" dirty="0"/>
                <a:t>Biegen</a:t>
              </a:r>
              <a:endParaRPr lang="de-DE" sz="1000" dirty="0"/>
            </a:p>
          </p:txBody>
        </p:sp>
        <p:pic>
          <p:nvPicPr>
            <p:cNvPr id="8" name="Picture 2" descr="Bolzen, Schraube Symbol Vektor, Gefüllt Flache Zeichen, Solide Piktogramm  Isoliert Auf Weiß. Symbol, Logo Illustration Lizenzfrei Nutzbare SVG,  Vektorgrafiken, Clip Arts, Illustrationen. Image 75055456.">
              <a:extLst>
                <a:ext uri="{FF2B5EF4-FFF2-40B4-BE49-F238E27FC236}">
                  <a16:creationId xmlns:a16="http://schemas.microsoft.com/office/drawing/2014/main" id="{AB950B60-E103-A8E6-4AFF-89EA477C61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1693" y="5796821"/>
              <a:ext cx="278023" cy="268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8BA25399-FD11-F493-8A1B-7F2A368D6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82961" y="5596807"/>
              <a:ext cx="558732" cy="468031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7FDC2D67-08AF-166E-4C1F-8AB8075238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90142" y="5599341"/>
              <a:ext cx="454782" cy="465497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A3F17EA8-33F6-42E1-49A5-32198E846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432562" y="5596807"/>
              <a:ext cx="766345" cy="468031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DCF50DAF-C2DA-9961-E929-D2D7B450D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730145" y="5596807"/>
              <a:ext cx="648352" cy="468031"/>
            </a:xfrm>
            <a:prstGeom prst="rect">
              <a:avLst/>
            </a:prstGeom>
          </p:spPr>
        </p:pic>
        <p:sp>
          <p:nvSpPr>
            <p:cNvPr id="13" name="Richtungspfeil 20">
              <a:extLst>
                <a:ext uri="{FF2B5EF4-FFF2-40B4-BE49-F238E27FC236}">
                  <a16:creationId xmlns:a16="http://schemas.microsoft.com/office/drawing/2014/main" id="{61CAE732-CFA8-8DB9-21AE-2DDFDEAE0119}"/>
                </a:ext>
              </a:extLst>
            </p:cNvPr>
            <p:cNvSpPr>
              <a:spLocks/>
            </p:cNvSpPr>
            <p:nvPr/>
          </p:nvSpPr>
          <p:spPr>
            <a:xfrm>
              <a:off x="4844363" y="5596807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00" b="1" dirty="0"/>
                <a:t>Lager</a:t>
              </a:r>
            </a:p>
          </p:txBody>
        </p:sp>
        <p:pic>
          <p:nvPicPr>
            <p:cNvPr id="14" name="Grafik 13" descr="Lager Silhouette">
              <a:extLst>
                <a:ext uri="{FF2B5EF4-FFF2-40B4-BE49-F238E27FC236}">
                  <a16:creationId xmlns:a16="http://schemas.microsoft.com/office/drawing/2014/main" id="{E3295DB3-58FC-E89A-4A3C-1B6E57F36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844363" y="5584272"/>
              <a:ext cx="545725" cy="545032"/>
            </a:xfrm>
            <a:prstGeom prst="rect">
              <a:avLst/>
            </a:prstGeom>
          </p:spPr>
        </p:pic>
        <p:sp>
          <p:nvSpPr>
            <p:cNvPr id="15" name="Richtungspfeil 20">
              <a:extLst>
                <a:ext uri="{FF2B5EF4-FFF2-40B4-BE49-F238E27FC236}">
                  <a16:creationId xmlns:a16="http://schemas.microsoft.com/office/drawing/2014/main" id="{AD0C2C13-6F87-2891-1014-402E538B58E9}"/>
                </a:ext>
              </a:extLst>
            </p:cNvPr>
            <p:cNvSpPr>
              <a:spLocks/>
            </p:cNvSpPr>
            <p:nvPr/>
          </p:nvSpPr>
          <p:spPr>
            <a:xfrm>
              <a:off x="5994597" y="5596807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00" b="1" dirty="0"/>
                <a:t>Schweißen</a:t>
              </a:r>
            </a:p>
          </p:txBody>
        </p:sp>
        <p:sp>
          <p:nvSpPr>
            <p:cNvPr id="16" name="Richtungspfeil 20">
              <a:extLst>
                <a:ext uri="{FF2B5EF4-FFF2-40B4-BE49-F238E27FC236}">
                  <a16:creationId xmlns:a16="http://schemas.microsoft.com/office/drawing/2014/main" id="{72C99586-63C1-4152-D061-9469B42A8CB3}"/>
                </a:ext>
              </a:extLst>
            </p:cNvPr>
            <p:cNvSpPr>
              <a:spLocks/>
            </p:cNvSpPr>
            <p:nvPr/>
          </p:nvSpPr>
          <p:spPr>
            <a:xfrm>
              <a:off x="7144831" y="5596807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00" b="1" dirty="0"/>
                <a:t>Verputzen</a:t>
              </a:r>
            </a:p>
          </p:txBody>
        </p:sp>
        <p:sp>
          <p:nvSpPr>
            <p:cNvPr id="17" name="Richtungspfeil 20">
              <a:extLst>
                <a:ext uri="{FF2B5EF4-FFF2-40B4-BE49-F238E27FC236}">
                  <a16:creationId xmlns:a16="http://schemas.microsoft.com/office/drawing/2014/main" id="{5C8A7905-AB64-45F8-2F1E-5FA5824B574C}"/>
                </a:ext>
              </a:extLst>
            </p:cNvPr>
            <p:cNvSpPr>
              <a:spLocks/>
            </p:cNvSpPr>
            <p:nvPr/>
          </p:nvSpPr>
          <p:spPr>
            <a:xfrm>
              <a:off x="8295065" y="5584271"/>
              <a:ext cx="1024209" cy="904963"/>
            </a:xfrm>
            <a:prstGeom prst="homePlate">
              <a:avLst>
                <a:gd name="adj" fmla="val 24667"/>
              </a:avLst>
            </a:prstGeom>
            <a:gradFill flip="none" rotWithShape="1">
              <a:gsLst>
                <a:gs pos="0">
                  <a:srgbClr val="E9EEF1"/>
                </a:gs>
                <a:gs pos="100000">
                  <a:schemeClr val="accent3"/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91440" bIns="72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000" b="1" dirty="0"/>
                <a:t>QS</a:t>
              </a:r>
              <a:endParaRPr lang="de-DE" sz="1000" b="1" dirty="0">
                <a:cs typeface="Arial"/>
              </a:endParaRP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E4C126A6-A443-034F-6F1F-1B5F410A8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039891" y="5611509"/>
              <a:ext cx="638870" cy="468000"/>
            </a:xfrm>
            <a:prstGeom prst="rect">
              <a:avLst/>
            </a:prstGeom>
          </p:spPr>
        </p:pic>
        <p:pic>
          <p:nvPicPr>
            <p:cNvPr id="19" name="Picture 40">
              <a:extLst>
                <a:ext uri="{FF2B5EF4-FFF2-40B4-BE49-F238E27FC236}">
                  <a16:creationId xmlns:a16="http://schemas.microsoft.com/office/drawing/2014/main" id="{20A7B714-DED7-5BD7-0DBA-A0E4BCB6D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341007" y="5609909"/>
              <a:ext cx="598008" cy="468000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62EEFCC8-8188-83E8-614F-FDB7BAD111A1}"/>
                </a:ext>
              </a:extLst>
            </p:cNvPr>
            <p:cNvPicPr>
              <a:picLocks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84272" y="5611509"/>
              <a:ext cx="478484" cy="468000"/>
            </a:xfrm>
            <a:prstGeom prst="rect">
              <a:avLst/>
            </a:prstGeom>
          </p:spPr>
        </p:pic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7D624BC8-06BE-29E0-14BD-F7C0FAFBB26E}"/>
              </a:ext>
            </a:extLst>
          </p:cNvPr>
          <p:cNvSpPr/>
          <p:nvPr/>
        </p:nvSpPr>
        <p:spPr>
          <a:xfrm>
            <a:off x="1063487" y="2474843"/>
            <a:ext cx="3971608" cy="954157"/>
          </a:xfrm>
          <a:prstGeom prst="rect">
            <a:avLst/>
          </a:prstGeom>
          <a:noFill/>
          <a:ln w="254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71B4B8FD-89B4-943F-E775-8991A552B89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986258" y="2293254"/>
            <a:ext cx="1689680" cy="133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860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DC0FC4-52BB-6C5B-72BC-817E3C7E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 Bereich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24B70C4-EFF3-72B8-FE8E-EBA3484BE6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Oseon</a:t>
            </a:r>
            <a:r>
              <a:rPr lang="de-DE" dirty="0"/>
              <a:t>: Software zur Fertigungs- und Materialflusssteuerung</a:t>
            </a:r>
          </a:p>
        </p:txBody>
      </p:sp>
      <p:sp>
        <p:nvSpPr>
          <p:cNvPr id="32" name="Rectangle 549">
            <a:extLst>
              <a:ext uri="{FF2B5EF4-FFF2-40B4-BE49-F238E27FC236}">
                <a16:creationId xmlns:a16="http://schemas.microsoft.com/office/drawing/2014/main" id="{6271DD4C-EB1A-B131-EFE2-785EE8FFC051}"/>
              </a:ext>
            </a:extLst>
          </p:cNvPr>
          <p:cNvSpPr/>
          <p:nvPr/>
        </p:nvSpPr>
        <p:spPr bwMode="auto">
          <a:xfrm>
            <a:off x="2122767" y="5357883"/>
            <a:ext cx="207159" cy="1500118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33" name="Rectangle 550">
            <a:extLst>
              <a:ext uri="{FF2B5EF4-FFF2-40B4-BE49-F238E27FC236}">
                <a16:creationId xmlns:a16="http://schemas.microsoft.com/office/drawing/2014/main" id="{090B9D11-7AE1-CF6E-F7E2-9162865BAC6E}"/>
              </a:ext>
            </a:extLst>
          </p:cNvPr>
          <p:cNvSpPr/>
          <p:nvPr/>
        </p:nvSpPr>
        <p:spPr bwMode="auto">
          <a:xfrm>
            <a:off x="2434339" y="4497994"/>
            <a:ext cx="167036" cy="2360007"/>
          </a:xfrm>
          <a:prstGeom prst="rect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</p:txBody>
      </p:sp>
      <p:sp>
        <p:nvSpPr>
          <p:cNvPr id="34" name="Freeform 56">
            <a:extLst>
              <a:ext uri="{FF2B5EF4-FFF2-40B4-BE49-F238E27FC236}">
                <a16:creationId xmlns:a16="http://schemas.microsoft.com/office/drawing/2014/main" id="{70D5578D-9A5D-561F-AE0E-57F802C6058C}"/>
              </a:ext>
            </a:extLst>
          </p:cNvPr>
          <p:cNvSpPr>
            <a:spLocks noEditPoints="1"/>
          </p:cNvSpPr>
          <p:nvPr/>
        </p:nvSpPr>
        <p:spPr bwMode="auto">
          <a:xfrm>
            <a:off x="1208428" y="2405271"/>
            <a:ext cx="1121121" cy="2462493"/>
          </a:xfrm>
          <a:custGeom>
            <a:avLst/>
            <a:gdLst>
              <a:gd name="T0" fmla="*/ 140 w 1131"/>
              <a:gd name="T1" fmla="*/ 139 h 2482"/>
              <a:gd name="T2" fmla="*/ 140 w 1131"/>
              <a:gd name="T3" fmla="*/ 701 h 2482"/>
              <a:gd name="T4" fmla="*/ 145 w 1131"/>
              <a:gd name="T5" fmla="*/ 760 h 2482"/>
              <a:gd name="T6" fmla="*/ 163 w 1131"/>
              <a:gd name="T7" fmla="*/ 813 h 2482"/>
              <a:gd name="T8" fmla="*/ 189 w 1131"/>
              <a:gd name="T9" fmla="*/ 862 h 2482"/>
              <a:gd name="T10" fmla="*/ 224 w 1131"/>
              <a:gd name="T11" fmla="*/ 905 h 2482"/>
              <a:gd name="T12" fmla="*/ 267 w 1131"/>
              <a:gd name="T13" fmla="*/ 940 h 2482"/>
              <a:gd name="T14" fmla="*/ 316 w 1131"/>
              <a:gd name="T15" fmla="*/ 968 h 2482"/>
              <a:gd name="T16" fmla="*/ 371 w 1131"/>
              <a:gd name="T17" fmla="*/ 985 h 2482"/>
              <a:gd name="T18" fmla="*/ 430 w 1131"/>
              <a:gd name="T19" fmla="*/ 991 h 2482"/>
              <a:gd name="T20" fmla="*/ 992 w 1131"/>
              <a:gd name="T21" fmla="*/ 991 h 2482"/>
              <a:gd name="T22" fmla="*/ 992 w 1131"/>
              <a:gd name="T23" fmla="*/ 430 h 2482"/>
              <a:gd name="T24" fmla="*/ 986 w 1131"/>
              <a:gd name="T25" fmla="*/ 371 h 2482"/>
              <a:gd name="T26" fmla="*/ 968 w 1131"/>
              <a:gd name="T27" fmla="*/ 316 h 2482"/>
              <a:gd name="T28" fmla="*/ 943 w 1131"/>
              <a:gd name="T29" fmla="*/ 267 h 2482"/>
              <a:gd name="T30" fmla="*/ 905 w 1131"/>
              <a:gd name="T31" fmla="*/ 223 h 2482"/>
              <a:gd name="T32" fmla="*/ 864 w 1131"/>
              <a:gd name="T33" fmla="*/ 188 h 2482"/>
              <a:gd name="T34" fmla="*/ 813 w 1131"/>
              <a:gd name="T35" fmla="*/ 163 h 2482"/>
              <a:gd name="T36" fmla="*/ 760 w 1131"/>
              <a:gd name="T37" fmla="*/ 145 h 2482"/>
              <a:gd name="T38" fmla="*/ 701 w 1131"/>
              <a:gd name="T39" fmla="*/ 139 h 2482"/>
              <a:gd name="T40" fmla="*/ 140 w 1131"/>
              <a:gd name="T41" fmla="*/ 139 h 2482"/>
              <a:gd name="T42" fmla="*/ 0 w 1131"/>
              <a:gd name="T43" fmla="*/ 0 h 2482"/>
              <a:gd name="T44" fmla="*/ 701 w 1131"/>
              <a:gd name="T45" fmla="*/ 0 h 2482"/>
              <a:gd name="T46" fmla="*/ 772 w 1131"/>
              <a:gd name="T47" fmla="*/ 4 h 2482"/>
              <a:gd name="T48" fmla="*/ 837 w 1131"/>
              <a:gd name="T49" fmla="*/ 21 h 2482"/>
              <a:gd name="T50" fmla="*/ 900 w 1131"/>
              <a:gd name="T51" fmla="*/ 47 h 2482"/>
              <a:gd name="T52" fmla="*/ 954 w 1131"/>
              <a:gd name="T53" fmla="*/ 82 h 2482"/>
              <a:gd name="T54" fmla="*/ 1006 w 1131"/>
              <a:gd name="T55" fmla="*/ 125 h 2482"/>
              <a:gd name="T56" fmla="*/ 1049 w 1131"/>
              <a:gd name="T57" fmla="*/ 174 h 2482"/>
              <a:gd name="T58" fmla="*/ 1084 w 1131"/>
              <a:gd name="T59" fmla="*/ 231 h 2482"/>
              <a:gd name="T60" fmla="*/ 1110 w 1131"/>
              <a:gd name="T61" fmla="*/ 292 h 2482"/>
              <a:gd name="T62" fmla="*/ 1125 w 1131"/>
              <a:gd name="T63" fmla="*/ 359 h 2482"/>
              <a:gd name="T64" fmla="*/ 1131 w 1131"/>
              <a:gd name="T65" fmla="*/ 430 h 2482"/>
              <a:gd name="T66" fmla="*/ 1131 w 1131"/>
              <a:gd name="T67" fmla="*/ 2482 h 2482"/>
              <a:gd name="T68" fmla="*/ 1002 w 1131"/>
              <a:gd name="T69" fmla="*/ 2482 h 2482"/>
              <a:gd name="T70" fmla="*/ 1002 w 1131"/>
              <a:gd name="T71" fmla="*/ 1131 h 2482"/>
              <a:gd name="T72" fmla="*/ 430 w 1131"/>
              <a:gd name="T73" fmla="*/ 1131 h 2482"/>
              <a:gd name="T74" fmla="*/ 360 w 1131"/>
              <a:gd name="T75" fmla="*/ 1125 h 2482"/>
              <a:gd name="T76" fmla="*/ 295 w 1131"/>
              <a:gd name="T77" fmla="*/ 1109 h 2482"/>
              <a:gd name="T78" fmla="*/ 232 w 1131"/>
              <a:gd name="T79" fmla="*/ 1084 h 2482"/>
              <a:gd name="T80" fmla="*/ 175 w 1131"/>
              <a:gd name="T81" fmla="*/ 1048 h 2482"/>
              <a:gd name="T82" fmla="*/ 126 w 1131"/>
              <a:gd name="T83" fmla="*/ 1005 h 2482"/>
              <a:gd name="T84" fmla="*/ 83 w 1131"/>
              <a:gd name="T85" fmla="*/ 954 h 2482"/>
              <a:gd name="T86" fmla="*/ 47 w 1131"/>
              <a:gd name="T87" fmla="*/ 899 h 2482"/>
              <a:gd name="T88" fmla="*/ 22 w 1131"/>
              <a:gd name="T89" fmla="*/ 836 h 2482"/>
              <a:gd name="T90" fmla="*/ 6 w 1131"/>
              <a:gd name="T91" fmla="*/ 769 h 2482"/>
              <a:gd name="T92" fmla="*/ 0 w 1131"/>
              <a:gd name="T93" fmla="*/ 701 h 2482"/>
              <a:gd name="T94" fmla="*/ 0 w 1131"/>
              <a:gd name="T95" fmla="*/ 0 h 2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31" h="2482">
                <a:moveTo>
                  <a:pt x="140" y="139"/>
                </a:moveTo>
                <a:lnTo>
                  <a:pt x="140" y="701"/>
                </a:lnTo>
                <a:lnTo>
                  <a:pt x="145" y="760"/>
                </a:lnTo>
                <a:lnTo>
                  <a:pt x="163" y="813"/>
                </a:lnTo>
                <a:lnTo>
                  <a:pt x="189" y="862"/>
                </a:lnTo>
                <a:lnTo>
                  <a:pt x="224" y="905"/>
                </a:lnTo>
                <a:lnTo>
                  <a:pt x="267" y="940"/>
                </a:lnTo>
                <a:lnTo>
                  <a:pt x="316" y="968"/>
                </a:lnTo>
                <a:lnTo>
                  <a:pt x="371" y="985"/>
                </a:lnTo>
                <a:lnTo>
                  <a:pt x="430" y="991"/>
                </a:lnTo>
                <a:lnTo>
                  <a:pt x="992" y="991"/>
                </a:lnTo>
                <a:lnTo>
                  <a:pt x="992" y="430"/>
                </a:lnTo>
                <a:lnTo>
                  <a:pt x="986" y="371"/>
                </a:lnTo>
                <a:lnTo>
                  <a:pt x="968" y="316"/>
                </a:lnTo>
                <a:lnTo>
                  <a:pt x="943" y="267"/>
                </a:lnTo>
                <a:lnTo>
                  <a:pt x="905" y="223"/>
                </a:lnTo>
                <a:lnTo>
                  <a:pt x="864" y="188"/>
                </a:lnTo>
                <a:lnTo>
                  <a:pt x="813" y="163"/>
                </a:lnTo>
                <a:lnTo>
                  <a:pt x="760" y="145"/>
                </a:lnTo>
                <a:lnTo>
                  <a:pt x="701" y="139"/>
                </a:lnTo>
                <a:lnTo>
                  <a:pt x="140" y="139"/>
                </a:lnTo>
                <a:close/>
                <a:moveTo>
                  <a:pt x="0" y="0"/>
                </a:moveTo>
                <a:lnTo>
                  <a:pt x="701" y="0"/>
                </a:lnTo>
                <a:lnTo>
                  <a:pt x="772" y="4"/>
                </a:lnTo>
                <a:lnTo>
                  <a:pt x="837" y="21"/>
                </a:lnTo>
                <a:lnTo>
                  <a:pt x="900" y="47"/>
                </a:lnTo>
                <a:lnTo>
                  <a:pt x="954" y="82"/>
                </a:lnTo>
                <a:lnTo>
                  <a:pt x="1006" y="125"/>
                </a:lnTo>
                <a:lnTo>
                  <a:pt x="1049" y="174"/>
                </a:lnTo>
                <a:lnTo>
                  <a:pt x="1084" y="231"/>
                </a:lnTo>
                <a:lnTo>
                  <a:pt x="1110" y="292"/>
                </a:lnTo>
                <a:lnTo>
                  <a:pt x="1125" y="359"/>
                </a:lnTo>
                <a:lnTo>
                  <a:pt x="1131" y="430"/>
                </a:lnTo>
                <a:lnTo>
                  <a:pt x="1131" y="2482"/>
                </a:lnTo>
                <a:lnTo>
                  <a:pt x="1002" y="2482"/>
                </a:lnTo>
                <a:lnTo>
                  <a:pt x="1002" y="1131"/>
                </a:lnTo>
                <a:lnTo>
                  <a:pt x="430" y="1131"/>
                </a:lnTo>
                <a:lnTo>
                  <a:pt x="360" y="1125"/>
                </a:lnTo>
                <a:lnTo>
                  <a:pt x="295" y="1109"/>
                </a:lnTo>
                <a:lnTo>
                  <a:pt x="232" y="1084"/>
                </a:lnTo>
                <a:lnTo>
                  <a:pt x="175" y="1048"/>
                </a:lnTo>
                <a:lnTo>
                  <a:pt x="126" y="1005"/>
                </a:lnTo>
                <a:lnTo>
                  <a:pt x="83" y="954"/>
                </a:lnTo>
                <a:lnTo>
                  <a:pt x="47" y="899"/>
                </a:lnTo>
                <a:lnTo>
                  <a:pt x="22" y="836"/>
                </a:lnTo>
                <a:lnTo>
                  <a:pt x="6" y="769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25">
            <a:extLst>
              <a:ext uri="{FF2B5EF4-FFF2-40B4-BE49-F238E27FC236}">
                <a16:creationId xmlns:a16="http://schemas.microsoft.com/office/drawing/2014/main" id="{893F2069-3733-DDB4-FB06-CBB44704A9E9}"/>
              </a:ext>
            </a:extLst>
          </p:cNvPr>
          <p:cNvSpPr>
            <a:spLocks noEditPoints="1"/>
          </p:cNvSpPr>
          <p:nvPr/>
        </p:nvSpPr>
        <p:spPr bwMode="auto">
          <a:xfrm>
            <a:off x="625052" y="3822050"/>
            <a:ext cx="1704498" cy="2258112"/>
          </a:xfrm>
          <a:custGeom>
            <a:avLst/>
            <a:gdLst>
              <a:gd name="T0" fmla="*/ 222 w 1718"/>
              <a:gd name="T1" fmla="*/ 222 h 2276"/>
              <a:gd name="T2" fmla="*/ 222 w 1718"/>
              <a:gd name="T3" fmla="*/ 1059 h 2276"/>
              <a:gd name="T4" fmla="*/ 226 w 1718"/>
              <a:gd name="T5" fmla="*/ 1129 h 2276"/>
              <a:gd name="T6" fmla="*/ 244 w 1718"/>
              <a:gd name="T7" fmla="*/ 1198 h 2276"/>
              <a:gd name="T8" fmla="*/ 271 w 1718"/>
              <a:gd name="T9" fmla="*/ 1261 h 2276"/>
              <a:gd name="T10" fmla="*/ 306 w 1718"/>
              <a:gd name="T11" fmla="*/ 1318 h 2276"/>
              <a:gd name="T12" fmla="*/ 350 w 1718"/>
              <a:gd name="T13" fmla="*/ 1369 h 2276"/>
              <a:gd name="T14" fmla="*/ 401 w 1718"/>
              <a:gd name="T15" fmla="*/ 1414 h 2276"/>
              <a:gd name="T16" fmla="*/ 460 w 1718"/>
              <a:gd name="T17" fmla="*/ 1449 h 2276"/>
              <a:gd name="T18" fmla="*/ 522 w 1718"/>
              <a:gd name="T19" fmla="*/ 1477 h 2276"/>
              <a:gd name="T20" fmla="*/ 589 w 1718"/>
              <a:gd name="T21" fmla="*/ 1493 h 2276"/>
              <a:gd name="T22" fmla="*/ 662 w 1718"/>
              <a:gd name="T23" fmla="*/ 1498 h 2276"/>
              <a:gd name="T24" fmla="*/ 1498 w 1718"/>
              <a:gd name="T25" fmla="*/ 1498 h 2276"/>
              <a:gd name="T26" fmla="*/ 1498 w 1718"/>
              <a:gd name="T27" fmla="*/ 662 h 2276"/>
              <a:gd name="T28" fmla="*/ 1492 w 1718"/>
              <a:gd name="T29" fmla="*/ 591 h 2276"/>
              <a:gd name="T30" fmla="*/ 1477 w 1718"/>
              <a:gd name="T31" fmla="*/ 523 h 2276"/>
              <a:gd name="T32" fmla="*/ 1449 w 1718"/>
              <a:gd name="T33" fmla="*/ 460 h 2276"/>
              <a:gd name="T34" fmla="*/ 1414 w 1718"/>
              <a:gd name="T35" fmla="*/ 403 h 2276"/>
              <a:gd name="T36" fmla="*/ 1369 w 1718"/>
              <a:gd name="T37" fmla="*/ 350 h 2276"/>
              <a:gd name="T38" fmla="*/ 1318 w 1718"/>
              <a:gd name="T39" fmla="*/ 307 h 2276"/>
              <a:gd name="T40" fmla="*/ 1261 w 1718"/>
              <a:gd name="T41" fmla="*/ 271 h 2276"/>
              <a:gd name="T42" fmla="*/ 1198 w 1718"/>
              <a:gd name="T43" fmla="*/ 244 h 2276"/>
              <a:gd name="T44" fmla="*/ 1129 w 1718"/>
              <a:gd name="T45" fmla="*/ 228 h 2276"/>
              <a:gd name="T46" fmla="*/ 1058 w 1718"/>
              <a:gd name="T47" fmla="*/ 222 h 2276"/>
              <a:gd name="T48" fmla="*/ 222 w 1718"/>
              <a:gd name="T49" fmla="*/ 222 h 2276"/>
              <a:gd name="T50" fmla="*/ 0 w 1718"/>
              <a:gd name="T51" fmla="*/ 0 h 2276"/>
              <a:gd name="T52" fmla="*/ 1058 w 1718"/>
              <a:gd name="T53" fmla="*/ 0 h 2276"/>
              <a:gd name="T54" fmla="*/ 1147 w 1718"/>
              <a:gd name="T55" fmla="*/ 6 h 2276"/>
              <a:gd name="T56" fmla="*/ 1233 w 1718"/>
              <a:gd name="T57" fmla="*/ 24 h 2276"/>
              <a:gd name="T58" fmla="*/ 1316 w 1718"/>
              <a:gd name="T59" fmla="*/ 53 h 2276"/>
              <a:gd name="T60" fmla="*/ 1392 w 1718"/>
              <a:gd name="T61" fmla="*/ 91 h 2276"/>
              <a:gd name="T62" fmla="*/ 1461 w 1718"/>
              <a:gd name="T63" fmla="*/ 140 h 2276"/>
              <a:gd name="T64" fmla="*/ 1526 w 1718"/>
              <a:gd name="T65" fmla="*/ 195 h 2276"/>
              <a:gd name="T66" fmla="*/ 1581 w 1718"/>
              <a:gd name="T67" fmla="*/ 257 h 2276"/>
              <a:gd name="T68" fmla="*/ 1628 w 1718"/>
              <a:gd name="T69" fmla="*/ 328 h 2276"/>
              <a:gd name="T70" fmla="*/ 1667 w 1718"/>
              <a:gd name="T71" fmla="*/ 405 h 2276"/>
              <a:gd name="T72" fmla="*/ 1695 w 1718"/>
              <a:gd name="T73" fmla="*/ 485 h 2276"/>
              <a:gd name="T74" fmla="*/ 1712 w 1718"/>
              <a:gd name="T75" fmla="*/ 572 h 2276"/>
              <a:gd name="T76" fmla="*/ 1718 w 1718"/>
              <a:gd name="T77" fmla="*/ 662 h 2276"/>
              <a:gd name="T78" fmla="*/ 1718 w 1718"/>
              <a:gd name="T79" fmla="*/ 2276 h 2276"/>
              <a:gd name="T80" fmla="*/ 1516 w 1718"/>
              <a:gd name="T81" fmla="*/ 2276 h 2276"/>
              <a:gd name="T82" fmla="*/ 1516 w 1718"/>
              <a:gd name="T83" fmla="*/ 1718 h 2276"/>
              <a:gd name="T84" fmla="*/ 662 w 1718"/>
              <a:gd name="T85" fmla="*/ 1718 h 2276"/>
              <a:gd name="T86" fmla="*/ 571 w 1718"/>
              <a:gd name="T87" fmla="*/ 1712 h 2276"/>
              <a:gd name="T88" fmla="*/ 485 w 1718"/>
              <a:gd name="T89" fmla="*/ 1695 h 2276"/>
              <a:gd name="T90" fmla="*/ 405 w 1718"/>
              <a:gd name="T91" fmla="*/ 1667 h 2276"/>
              <a:gd name="T92" fmla="*/ 328 w 1718"/>
              <a:gd name="T93" fmla="*/ 1628 h 2276"/>
              <a:gd name="T94" fmla="*/ 257 w 1718"/>
              <a:gd name="T95" fmla="*/ 1581 h 2276"/>
              <a:gd name="T96" fmla="*/ 194 w 1718"/>
              <a:gd name="T97" fmla="*/ 1526 h 2276"/>
              <a:gd name="T98" fmla="*/ 137 w 1718"/>
              <a:gd name="T99" fmla="*/ 1461 h 2276"/>
              <a:gd name="T100" fmla="*/ 90 w 1718"/>
              <a:gd name="T101" fmla="*/ 1392 h 2276"/>
              <a:gd name="T102" fmla="*/ 53 w 1718"/>
              <a:gd name="T103" fmla="*/ 1316 h 2276"/>
              <a:gd name="T104" fmla="*/ 24 w 1718"/>
              <a:gd name="T105" fmla="*/ 1233 h 2276"/>
              <a:gd name="T106" fmla="*/ 6 w 1718"/>
              <a:gd name="T107" fmla="*/ 1147 h 2276"/>
              <a:gd name="T108" fmla="*/ 0 w 1718"/>
              <a:gd name="T109" fmla="*/ 1059 h 2276"/>
              <a:gd name="T110" fmla="*/ 0 w 1718"/>
              <a:gd name="T111" fmla="*/ 0 h 2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18" h="2276">
                <a:moveTo>
                  <a:pt x="222" y="222"/>
                </a:moveTo>
                <a:lnTo>
                  <a:pt x="222" y="1059"/>
                </a:lnTo>
                <a:lnTo>
                  <a:pt x="226" y="1129"/>
                </a:lnTo>
                <a:lnTo>
                  <a:pt x="244" y="1198"/>
                </a:lnTo>
                <a:lnTo>
                  <a:pt x="271" y="1261"/>
                </a:lnTo>
                <a:lnTo>
                  <a:pt x="306" y="1318"/>
                </a:lnTo>
                <a:lnTo>
                  <a:pt x="350" y="1369"/>
                </a:lnTo>
                <a:lnTo>
                  <a:pt x="401" y="1414"/>
                </a:lnTo>
                <a:lnTo>
                  <a:pt x="460" y="1449"/>
                </a:lnTo>
                <a:lnTo>
                  <a:pt x="522" y="1477"/>
                </a:lnTo>
                <a:lnTo>
                  <a:pt x="589" y="1493"/>
                </a:lnTo>
                <a:lnTo>
                  <a:pt x="662" y="1498"/>
                </a:lnTo>
                <a:lnTo>
                  <a:pt x="1498" y="1498"/>
                </a:lnTo>
                <a:lnTo>
                  <a:pt x="1498" y="662"/>
                </a:lnTo>
                <a:lnTo>
                  <a:pt x="1492" y="591"/>
                </a:lnTo>
                <a:lnTo>
                  <a:pt x="1477" y="523"/>
                </a:lnTo>
                <a:lnTo>
                  <a:pt x="1449" y="460"/>
                </a:lnTo>
                <a:lnTo>
                  <a:pt x="1414" y="403"/>
                </a:lnTo>
                <a:lnTo>
                  <a:pt x="1369" y="350"/>
                </a:lnTo>
                <a:lnTo>
                  <a:pt x="1318" y="307"/>
                </a:lnTo>
                <a:lnTo>
                  <a:pt x="1261" y="271"/>
                </a:lnTo>
                <a:lnTo>
                  <a:pt x="1198" y="244"/>
                </a:lnTo>
                <a:lnTo>
                  <a:pt x="1129" y="228"/>
                </a:lnTo>
                <a:lnTo>
                  <a:pt x="1058" y="222"/>
                </a:lnTo>
                <a:lnTo>
                  <a:pt x="222" y="222"/>
                </a:lnTo>
                <a:close/>
                <a:moveTo>
                  <a:pt x="0" y="0"/>
                </a:moveTo>
                <a:lnTo>
                  <a:pt x="1058" y="0"/>
                </a:lnTo>
                <a:lnTo>
                  <a:pt x="1147" y="6"/>
                </a:lnTo>
                <a:lnTo>
                  <a:pt x="1233" y="24"/>
                </a:lnTo>
                <a:lnTo>
                  <a:pt x="1316" y="53"/>
                </a:lnTo>
                <a:lnTo>
                  <a:pt x="1392" y="91"/>
                </a:lnTo>
                <a:lnTo>
                  <a:pt x="1461" y="140"/>
                </a:lnTo>
                <a:lnTo>
                  <a:pt x="1526" y="195"/>
                </a:lnTo>
                <a:lnTo>
                  <a:pt x="1581" y="257"/>
                </a:lnTo>
                <a:lnTo>
                  <a:pt x="1628" y="328"/>
                </a:lnTo>
                <a:lnTo>
                  <a:pt x="1667" y="405"/>
                </a:lnTo>
                <a:lnTo>
                  <a:pt x="1695" y="485"/>
                </a:lnTo>
                <a:lnTo>
                  <a:pt x="1712" y="572"/>
                </a:lnTo>
                <a:lnTo>
                  <a:pt x="1718" y="662"/>
                </a:lnTo>
                <a:lnTo>
                  <a:pt x="1718" y="2276"/>
                </a:lnTo>
                <a:lnTo>
                  <a:pt x="1516" y="2276"/>
                </a:lnTo>
                <a:lnTo>
                  <a:pt x="1516" y="1718"/>
                </a:lnTo>
                <a:lnTo>
                  <a:pt x="662" y="1718"/>
                </a:lnTo>
                <a:lnTo>
                  <a:pt x="571" y="1712"/>
                </a:lnTo>
                <a:lnTo>
                  <a:pt x="485" y="1695"/>
                </a:lnTo>
                <a:lnTo>
                  <a:pt x="405" y="1667"/>
                </a:lnTo>
                <a:lnTo>
                  <a:pt x="328" y="1628"/>
                </a:lnTo>
                <a:lnTo>
                  <a:pt x="257" y="1581"/>
                </a:lnTo>
                <a:lnTo>
                  <a:pt x="194" y="1526"/>
                </a:lnTo>
                <a:lnTo>
                  <a:pt x="137" y="1461"/>
                </a:lnTo>
                <a:lnTo>
                  <a:pt x="90" y="1392"/>
                </a:lnTo>
                <a:lnTo>
                  <a:pt x="53" y="1316"/>
                </a:lnTo>
                <a:lnTo>
                  <a:pt x="24" y="1233"/>
                </a:lnTo>
                <a:lnTo>
                  <a:pt x="6" y="1147"/>
                </a:lnTo>
                <a:lnTo>
                  <a:pt x="0" y="10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183">
            <a:extLst>
              <a:ext uri="{FF2B5EF4-FFF2-40B4-BE49-F238E27FC236}">
                <a16:creationId xmlns:a16="http://schemas.microsoft.com/office/drawing/2014/main" id="{AE2E10B0-612A-53F8-40D6-EFFD404A5282}"/>
              </a:ext>
            </a:extLst>
          </p:cNvPr>
          <p:cNvSpPr>
            <a:spLocks noEditPoints="1"/>
          </p:cNvSpPr>
          <p:nvPr/>
        </p:nvSpPr>
        <p:spPr bwMode="auto">
          <a:xfrm>
            <a:off x="2434714" y="3183109"/>
            <a:ext cx="1478290" cy="2855381"/>
          </a:xfrm>
          <a:custGeom>
            <a:avLst/>
            <a:gdLst>
              <a:gd name="T0" fmla="*/ 568 w 1491"/>
              <a:gd name="T1" fmla="*/ 179 h 2879"/>
              <a:gd name="T2" fmla="*/ 505 w 1491"/>
              <a:gd name="T3" fmla="*/ 185 h 2879"/>
              <a:gd name="T4" fmla="*/ 446 w 1491"/>
              <a:gd name="T5" fmla="*/ 200 h 2879"/>
              <a:gd name="T6" fmla="*/ 391 w 1491"/>
              <a:gd name="T7" fmla="*/ 224 h 2879"/>
              <a:gd name="T8" fmla="*/ 340 w 1491"/>
              <a:gd name="T9" fmla="*/ 255 h 2879"/>
              <a:gd name="T10" fmla="*/ 295 w 1491"/>
              <a:gd name="T11" fmla="*/ 293 h 2879"/>
              <a:gd name="T12" fmla="*/ 256 w 1491"/>
              <a:gd name="T13" fmla="*/ 340 h 2879"/>
              <a:gd name="T14" fmla="*/ 224 w 1491"/>
              <a:gd name="T15" fmla="*/ 391 h 2879"/>
              <a:gd name="T16" fmla="*/ 201 w 1491"/>
              <a:gd name="T17" fmla="*/ 446 h 2879"/>
              <a:gd name="T18" fmla="*/ 185 w 1491"/>
              <a:gd name="T19" fmla="*/ 505 h 2879"/>
              <a:gd name="T20" fmla="*/ 179 w 1491"/>
              <a:gd name="T21" fmla="*/ 568 h 2879"/>
              <a:gd name="T22" fmla="*/ 179 w 1491"/>
              <a:gd name="T23" fmla="*/ 1310 h 2879"/>
              <a:gd name="T24" fmla="*/ 921 w 1491"/>
              <a:gd name="T25" fmla="*/ 1310 h 2879"/>
              <a:gd name="T26" fmla="*/ 984 w 1491"/>
              <a:gd name="T27" fmla="*/ 1306 h 2879"/>
              <a:gd name="T28" fmla="*/ 1045 w 1491"/>
              <a:gd name="T29" fmla="*/ 1290 h 2879"/>
              <a:gd name="T30" fmla="*/ 1100 w 1491"/>
              <a:gd name="T31" fmla="*/ 1267 h 2879"/>
              <a:gd name="T32" fmla="*/ 1151 w 1491"/>
              <a:gd name="T33" fmla="*/ 1235 h 2879"/>
              <a:gd name="T34" fmla="*/ 1196 w 1491"/>
              <a:gd name="T35" fmla="*/ 1196 h 2879"/>
              <a:gd name="T36" fmla="*/ 1235 w 1491"/>
              <a:gd name="T37" fmla="*/ 1151 h 2879"/>
              <a:gd name="T38" fmla="*/ 1267 w 1491"/>
              <a:gd name="T39" fmla="*/ 1100 h 2879"/>
              <a:gd name="T40" fmla="*/ 1290 w 1491"/>
              <a:gd name="T41" fmla="*/ 1045 h 2879"/>
              <a:gd name="T42" fmla="*/ 1306 w 1491"/>
              <a:gd name="T43" fmla="*/ 984 h 2879"/>
              <a:gd name="T44" fmla="*/ 1310 w 1491"/>
              <a:gd name="T45" fmla="*/ 921 h 2879"/>
              <a:gd name="T46" fmla="*/ 1310 w 1491"/>
              <a:gd name="T47" fmla="*/ 179 h 2879"/>
              <a:gd name="T48" fmla="*/ 568 w 1491"/>
              <a:gd name="T49" fmla="*/ 179 h 2879"/>
              <a:gd name="T50" fmla="*/ 568 w 1491"/>
              <a:gd name="T51" fmla="*/ 0 h 2879"/>
              <a:gd name="T52" fmla="*/ 1491 w 1491"/>
              <a:gd name="T53" fmla="*/ 0 h 2879"/>
              <a:gd name="T54" fmla="*/ 1491 w 1491"/>
              <a:gd name="T55" fmla="*/ 921 h 2879"/>
              <a:gd name="T56" fmla="*/ 1485 w 1491"/>
              <a:gd name="T57" fmla="*/ 1006 h 2879"/>
              <a:gd name="T58" fmla="*/ 1467 w 1491"/>
              <a:gd name="T59" fmla="*/ 1086 h 2879"/>
              <a:gd name="T60" fmla="*/ 1438 w 1491"/>
              <a:gd name="T61" fmla="*/ 1161 h 2879"/>
              <a:gd name="T62" fmla="*/ 1398 w 1491"/>
              <a:gd name="T63" fmla="*/ 1231 h 2879"/>
              <a:gd name="T64" fmla="*/ 1351 w 1491"/>
              <a:gd name="T65" fmla="*/ 1294 h 2879"/>
              <a:gd name="T66" fmla="*/ 1294 w 1491"/>
              <a:gd name="T67" fmla="*/ 1351 h 2879"/>
              <a:gd name="T68" fmla="*/ 1231 w 1491"/>
              <a:gd name="T69" fmla="*/ 1398 h 2879"/>
              <a:gd name="T70" fmla="*/ 1161 w 1491"/>
              <a:gd name="T71" fmla="*/ 1438 h 2879"/>
              <a:gd name="T72" fmla="*/ 1086 w 1491"/>
              <a:gd name="T73" fmla="*/ 1467 h 2879"/>
              <a:gd name="T74" fmla="*/ 1006 w 1491"/>
              <a:gd name="T75" fmla="*/ 1485 h 2879"/>
              <a:gd name="T76" fmla="*/ 921 w 1491"/>
              <a:gd name="T77" fmla="*/ 1491 h 2879"/>
              <a:gd name="T78" fmla="*/ 167 w 1491"/>
              <a:gd name="T79" fmla="*/ 1491 h 2879"/>
              <a:gd name="T80" fmla="*/ 167 w 1491"/>
              <a:gd name="T81" fmla="*/ 2879 h 2879"/>
              <a:gd name="T82" fmla="*/ 0 w 1491"/>
              <a:gd name="T83" fmla="*/ 2879 h 2879"/>
              <a:gd name="T84" fmla="*/ 0 w 1491"/>
              <a:gd name="T85" fmla="*/ 568 h 2879"/>
              <a:gd name="T86" fmla="*/ 6 w 1491"/>
              <a:gd name="T87" fmla="*/ 485 h 2879"/>
              <a:gd name="T88" fmla="*/ 24 w 1491"/>
              <a:gd name="T89" fmla="*/ 405 h 2879"/>
              <a:gd name="T90" fmla="*/ 53 w 1491"/>
              <a:gd name="T91" fmla="*/ 328 h 2879"/>
              <a:gd name="T92" fmla="*/ 91 w 1491"/>
              <a:gd name="T93" fmla="*/ 259 h 2879"/>
              <a:gd name="T94" fmla="*/ 140 w 1491"/>
              <a:gd name="T95" fmla="*/ 195 h 2879"/>
              <a:gd name="T96" fmla="*/ 195 w 1491"/>
              <a:gd name="T97" fmla="*/ 140 h 2879"/>
              <a:gd name="T98" fmla="*/ 259 w 1491"/>
              <a:gd name="T99" fmla="*/ 90 h 2879"/>
              <a:gd name="T100" fmla="*/ 328 w 1491"/>
              <a:gd name="T101" fmla="*/ 53 h 2879"/>
              <a:gd name="T102" fmla="*/ 405 w 1491"/>
              <a:gd name="T103" fmla="*/ 24 h 2879"/>
              <a:gd name="T104" fmla="*/ 485 w 1491"/>
              <a:gd name="T105" fmla="*/ 6 h 2879"/>
              <a:gd name="T106" fmla="*/ 568 w 1491"/>
              <a:gd name="T107" fmla="*/ 0 h 28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91" h="2879">
                <a:moveTo>
                  <a:pt x="568" y="179"/>
                </a:moveTo>
                <a:lnTo>
                  <a:pt x="505" y="185"/>
                </a:lnTo>
                <a:lnTo>
                  <a:pt x="446" y="200"/>
                </a:lnTo>
                <a:lnTo>
                  <a:pt x="391" y="224"/>
                </a:lnTo>
                <a:lnTo>
                  <a:pt x="340" y="255"/>
                </a:lnTo>
                <a:lnTo>
                  <a:pt x="295" y="293"/>
                </a:lnTo>
                <a:lnTo>
                  <a:pt x="256" y="340"/>
                </a:lnTo>
                <a:lnTo>
                  <a:pt x="224" y="391"/>
                </a:lnTo>
                <a:lnTo>
                  <a:pt x="201" y="446"/>
                </a:lnTo>
                <a:lnTo>
                  <a:pt x="185" y="505"/>
                </a:lnTo>
                <a:lnTo>
                  <a:pt x="179" y="568"/>
                </a:lnTo>
                <a:lnTo>
                  <a:pt x="179" y="1310"/>
                </a:lnTo>
                <a:lnTo>
                  <a:pt x="921" y="1310"/>
                </a:lnTo>
                <a:lnTo>
                  <a:pt x="984" y="1306"/>
                </a:lnTo>
                <a:lnTo>
                  <a:pt x="1045" y="1290"/>
                </a:lnTo>
                <a:lnTo>
                  <a:pt x="1100" y="1267"/>
                </a:lnTo>
                <a:lnTo>
                  <a:pt x="1151" y="1235"/>
                </a:lnTo>
                <a:lnTo>
                  <a:pt x="1196" y="1196"/>
                </a:lnTo>
                <a:lnTo>
                  <a:pt x="1235" y="1151"/>
                </a:lnTo>
                <a:lnTo>
                  <a:pt x="1267" y="1100"/>
                </a:lnTo>
                <a:lnTo>
                  <a:pt x="1290" y="1045"/>
                </a:lnTo>
                <a:lnTo>
                  <a:pt x="1306" y="984"/>
                </a:lnTo>
                <a:lnTo>
                  <a:pt x="1310" y="921"/>
                </a:lnTo>
                <a:lnTo>
                  <a:pt x="1310" y="179"/>
                </a:lnTo>
                <a:lnTo>
                  <a:pt x="568" y="179"/>
                </a:lnTo>
                <a:close/>
                <a:moveTo>
                  <a:pt x="568" y="0"/>
                </a:moveTo>
                <a:lnTo>
                  <a:pt x="1491" y="0"/>
                </a:lnTo>
                <a:lnTo>
                  <a:pt x="1491" y="921"/>
                </a:lnTo>
                <a:lnTo>
                  <a:pt x="1485" y="1006"/>
                </a:lnTo>
                <a:lnTo>
                  <a:pt x="1467" y="1086"/>
                </a:lnTo>
                <a:lnTo>
                  <a:pt x="1438" y="1161"/>
                </a:lnTo>
                <a:lnTo>
                  <a:pt x="1398" y="1231"/>
                </a:lnTo>
                <a:lnTo>
                  <a:pt x="1351" y="1294"/>
                </a:lnTo>
                <a:lnTo>
                  <a:pt x="1294" y="1351"/>
                </a:lnTo>
                <a:lnTo>
                  <a:pt x="1231" y="1398"/>
                </a:lnTo>
                <a:lnTo>
                  <a:pt x="1161" y="1438"/>
                </a:lnTo>
                <a:lnTo>
                  <a:pt x="1086" y="1467"/>
                </a:lnTo>
                <a:lnTo>
                  <a:pt x="1006" y="1485"/>
                </a:lnTo>
                <a:lnTo>
                  <a:pt x="921" y="1491"/>
                </a:lnTo>
                <a:lnTo>
                  <a:pt x="167" y="1491"/>
                </a:lnTo>
                <a:lnTo>
                  <a:pt x="167" y="2879"/>
                </a:lnTo>
                <a:lnTo>
                  <a:pt x="0" y="2879"/>
                </a:lnTo>
                <a:lnTo>
                  <a:pt x="0" y="568"/>
                </a:lnTo>
                <a:lnTo>
                  <a:pt x="6" y="485"/>
                </a:lnTo>
                <a:lnTo>
                  <a:pt x="24" y="405"/>
                </a:lnTo>
                <a:lnTo>
                  <a:pt x="53" y="328"/>
                </a:lnTo>
                <a:lnTo>
                  <a:pt x="91" y="259"/>
                </a:lnTo>
                <a:lnTo>
                  <a:pt x="140" y="195"/>
                </a:lnTo>
                <a:lnTo>
                  <a:pt x="195" y="140"/>
                </a:lnTo>
                <a:lnTo>
                  <a:pt x="259" y="90"/>
                </a:lnTo>
                <a:lnTo>
                  <a:pt x="328" y="53"/>
                </a:lnTo>
                <a:lnTo>
                  <a:pt x="405" y="24"/>
                </a:lnTo>
                <a:lnTo>
                  <a:pt x="485" y="6"/>
                </a:lnTo>
                <a:lnTo>
                  <a:pt x="568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535">
            <a:extLst>
              <a:ext uri="{FF2B5EF4-FFF2-40B4-BE49-F238E27FC236}">
                <a16:creationId xmlns:a16="http://schemas.microsoft.com/office/drawing/2014/main" id="{1138A641-0C59-DFBE-92FB-94726140E3CA}"/>
              </a:ext>
            </a:extLst>
          </p:cNvPr>
          <p:cNvSpPr/>
          <p:nvPr/>
        </p:nvSpPr>
        <p:spPr>
          <a:xfrm>
            <a:off x="5072726" y="2345637"/>
            <a:ext cx="6675326" cy="858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Lea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Tei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bis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alettengröß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erde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automatisier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üb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ei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fahrerlose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Transportsystem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transportiert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Rectangle 536">
            <a:extLst>
              <a:ext uri="{FF2B5EF4-FFF2-40B4-BE49-F238E27FC236}">
                <a16:creationId xmlns:a16="http://schemas.microsoft.com/office/drawing/2014/main" id="{33163359-2691-09AE-0E6E-9537AB71B5C2}"/>
              </a:ext>
            </a:extLst>
          </p:cNvPr>
          <p:cNvSpPr/>
          <p:nvPr/>
        </p:nvSpPr>
        <p:spPr>
          <a:xfrm>
            <a:off x="5072726" y="3532852"/>
            <a:ext cx="6675326" cy="858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5"/>
                </a:solidFill>
              </a:rPr>
              <a:t>Gre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apierlos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Fertigu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im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Customer Center.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adurch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Einsparu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von &gt;50.000 Seiten Papier pro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Jah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39" name="Rectangle 537">
            <a:extLst>
              <a:ext uri="{FF2B5EF4-FFF2-40B4-BE49-F238E27FC236}">
                <a16:creationId xmlns:a16="http://schemas.microsoft.com/office/drawing/2014/main" id="{C56B6F27-CDCB-362E-A9F0-CDF362648D0E}"/>
              </a:ext>
            </a:extLst>
          </p:cNvPr>
          <p:cNvSpPr/>
          <p:nvPr/>
        </p:nvSpPr>
        <p:spPr>
          <a:xfrm>
            <a:off x="5072726" y="4699349"/>
            <a:ext cx="6494222" cy="1135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Digital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Oseo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Fabrication &amp; Logistics: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erkerführu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Arbeitsvorra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Rüstplän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Rückmeldu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vo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Fertigungsaufträge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terialtransport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Oseo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Analytics: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Auswertu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schinenlaufzeite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&amp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törungsmeldungen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9" name="Freeform 126">
            <a:extLst>
              <a:ext uri="{FF2B5EF4-FFF2-40B4-BE49-F238E27FC236}">
                <a16:creationId xmlns:a16="http://schemas.microsoft.com/office/drawing/2014/main" id="{28724910-3DDD-E9C3-FBB8-EAACAAEAB857}"/>
              </a:ext>
            </a:extLst>
          </p:cNvPr>
          <p:cNvSpPr>
            <a:spLocks/>
          </p:cNvSpPr>
          <p:nvPr/>
        </p:nvSpPr>
        <p:spPr bwMode="auto">
          <a:xfrm>
            <a:off x="2912925" y="3560287"/>
            <a:ext cx="516075" cy="710479"/>
          </a:xfrm>
          <a:custGeom>
            <a:avLst/>
            <a:gdLst/>
            <a:ahLst/>
            <a:cxnLst>
              <a:cxn ang="0">
                <a:pos x="25" y="46"/>
              </a:cxn>
              <a:cxn ang="0">
                <a:pos x="1" y="64"/>
              </a:cxn>
              <a:cxn ang="0">
                <a:pos x="0" y="62"/>
              </a:cxn>
              <a:cxn ang="0">
                <a:pos x="1" y="61"/>
              </a:cxn>
              <a:cxn ang="0">
                <a:pos x="22" y="46"/>
              </a:cxn>
              <a:cxn ang="0">
                <a:pos x="1" y="36"/>
              </a:cxn>
              <a:cxn ang="0">
                <a:pos x="24" y="41"/>
              </a:cxn>
              <a:cxn ang="0">
                <a:pos x="27" y="31"/>
              </a:cxn>
              <a:cxn ang="0">
                <a:pos x="7" y="18"/>
              </a:cxn>
              <a:cxn ang="0">
                <a:pos x="27" y="28"/>
              </a:cxn>
              <a:cxn ang="0">
                <a:pos x="28" y="21"/>
              </a:cxn>
              <a:cxn ang="0">
                <a:pos x="23" y="0"/>
              </a:cxn>
              <a:cxn ang="0">
                <a:pos x="31" y="21"/>
              </a:cxn>
              <a:cxn ang="0">
                <a:pos x="31" y="25"/>
              </a:cxn>
              <a:cxn ang="0">
                <a:pos x="48" y="18"/>
              </a:cxn>
              <a:cxn ang="0">
                <a:pos x="30" y="32"/>
              </a:cxn>
              <a:cxn ang="0">
                <a:pos x="27" y="42"/>
              </a:cxn>
              <a:cxn ang="0">
                <a:pos x="50" y="39"/>
              </a:cxn>
              <a:cxn ang="0">
                <a:pos x="25" y="46"/>
              </a:cxn>
            </a:cxnLst>
            <a:rect l="0" t="0" r="r" b="b"/>
            <a:pathLst>
              <a:path w="50" h="64">
                <a:moveTo>
                  <a:pt x="25" y="46"/>
                </a:moveTo>
                <a:cubicBezTo>
                  <a:pt x="20" y="57"/>
                  <a:pt x="11" y="64"/>
                  <a:pt x="1" y="64"/>
                </a:cubicBezTo>
                <a:cubicBezTo>
                  <a:pt x="0" y="64"/>
                  <a:pt x="0" y="63"/>
                  <a:pt x="0" y="62"/>
                </a:cubicBezTo>
                <a:cubicBezTo>
                  <a:pt x="0" y="61"/>
                  <a:pt x="0" y="61"/>
                  <a:pt x="1" y="61"/>
                </a:cubicBezTo>
                <a:cubicBezTo>
                  <a:pt x="10" y="61"/>
                  <a:pt x="17" y="55"/>
                  <a:pt x="22" y="46"/>
                </a:cubicBezTo>
                <a:cubicBezTo>
                  <a:pt x="17" y="48"/>
                  <a:pt x="6" y="50"/>
                  <a:pt x="1" y="36"/>
                </a:cubicBezTo>
                <a:cubicBezTo>
                  <a:pt x="15" y="30"/>
                  <a:pt x="22" y="37"/>
                  <a:pt x="24" y="41"/>
                </a:cubicBezTo>
                <a:cubicBezTo>
                  <a:pt x="25" y="38"/>
                  <a:pt x="26" y="35"/>
                  <a:pt x="27" y="31"/>
                </a:cubicBezTo>
                <a:cubicBezTo>
                  <a:pt x="27" y="31"/>
                  <a:pt x="9" y="34"/>
                  <a:pt x="7" y="18"/>
                </a:cubicBezTo>
                <a:cubicBezTo>
                  <a:pt x="23" y="12"/>
                  <a:pt x="27" y="28"/>
                  <a:pt x="27" y="28"/>
                </a:cubicBezTo>
                <a:cubicBezTo>
                  <a:pt x="27" y="26"/>
                  <a:pt x="28" y="21"/>
                  <a:pt x="28" y="21"/>
                </a:cubicBezTo>
                <a:cubicBezTo>
                  <a:pt x="28" y="21"/>
                  <a:pt x="14" y="12"/>
                  <a:pt x="23" y="0"/>
                </a:cubicBezTo>
                <a:cubicBezTo>
                  <a:pt x="39" y="5"/>
                  <a:pt x="31" y="21"/>
                  <a:pt x="31" y="21"/>
                </a:cubicBezTo>
                <a:cubicBezTo>
                  <a:pt x="31" y="21"/>
                  <a:pt x="31" y="24"/>
                  <a:pt x="31" y="25"/>
                </a:cubicBezTo>
                <a:cubicBezTo>
                  <a:pt x="31" y="25"/>
                  <a:pt x="37" y="14"/>
                  <a:pt x="48" y="18"/>
                </a:cubicBezTo>
                <a:cubicBezTo>
                  <a:pt x="48" y="35"/>
                  <a:pt x="30" y="32"/>
                  <a:pt x="30" y="32"/>
                </a:cubicBezTo>
                <a:cubicBezTo>
                  <a:pt x="29" y="35"/>
                  <a:pt x="29" y="39"/>
                  <a:pt x="27" y="42"/>
                </a:cubicBezTo>
                <a:cubicBezTo>
                  <a:pt x="27" y="42"/>
                  <a:pt x="38" y="30"/>
                  <a:pt x="50" y="39"/>
                </a:cubicBezTo>
                <a:cubicBezTo>
                  <a:pt x="43" y="57"/>
                  <a:pt x="25" y="46"/>
                  <a:pt x="25" y="46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126">
            <a:extLst>
              <a:ext uri="{FF2B5EF4-FFF2-40B4-BE49-F238E27FC236}">
                <a16:creationId xmlns:a16="http://schemas.microsoft.com/office/drawing/2014/main" id="{77A0B850-B709-5E53-7296-9CB13DB1E84D}"/>
              </a:ext>
            </a:extLst>
          </p:cNvPr>
          <p:cNvSpPr>
            <a:spLocks/>
          </p:cNvSpPr>
          <p:nvPr/>
        </p:nvSpPr>
        <p:spPr bwMode="auto">
          <a:xfrm>
            <a:off x="4588722" y="3661464"/>
            <a:ext cx="386249" cy="531748"/>
          </a:xfrm>
          <a:custGeom>
            <a:avLst/>
            <a:gdLst/>
            <a:ahLst/>
            <a:cxnLst>
              <a:cxn ang="0">
                <a:pos x="25" y="46"/>
              </a:cxn>
              <a:cxn ang="0">
                <a:pos x="1" y="64"/>
              </a:cxn>
              <a:cxn ang="0">
                <a:pos x="0" y="62"/>
              </a:cxn>
              <a:cxn ang="0">
                <a:pos x="1" y="61"/>
              </a:cxn>
              <a:cxn ang="0">
                <a:pos x="22" y="46"/>
              </a:cxn>
              <a:cxn ang="0">
                <a:pos x="1" y="36"/>
              </a:cxn>
              <a:cxn ang="0">
                <a:pos x="24" y="41"/>
              </a:cxn>
              <a:cxn ang="0">
                <a:pos x="27" y="31"/>
              </a:cxn>
              <a:cxn ang="0">
                <a:pos x="7" y="18"/>
              </a:cxn>
              <a:cxn ang="0">
                <a:pos x="27" y="28"/>
              </a:cxn>
              <a:cxn ang="0">
                <a:pos x="28" y="21"/>
              </a:cxn>
              <a:cxn ang="0">
                <a:pos x="23" y="0"/>
              </a:cxn>
              <a:cxn ang="0">
                <a:pos x="31" y="21"/>
              </a:cxn>
              <a:cxn ang="0">
                <a:pos x="31" y="25"/>
              </a:cxn>
              <a:cxn ang="0">
                <a:pos x="48" y="18"/>
              </a:cxn>
              <a:cxn ang="0">
                <a:pos x="30" y="32"/>
              </a:cxn>
              <a:cxn ang="0">
                <a:pos x="27" y="42"/>
              </a:cxn>
              <a:cxn ang="0">
                <a:pos x="50" y="39"/>
              </a:cxn>
              <a:cxn ang="0">
                <a:pos x="25" y="46"/>
              </a:cxn>
            </a:cxnLst>
            <a:rect l="0" t="0" r="r" b="b"/>
            <a:pathLst>
              <a:path w="50" h="64">
                <a:moveTo>
                  <a:pt x="25" y="46"/>
                </a:moveTo>
                <a:cubicBezTo>
                  <a:pt x="20" y="57"/>
                  <a:pt x="11" y="64"/>
                  <a:pt x="1" y="64"/>
                </a:cubicBezTo>
                <a:cubicBezTo>
                  <a:pt x="0" y="64"/>
                  <a:pt x="0" y="63"/>
                  <a:pt x="0" y="62"/>
                </a:cubicBezTo>
                <a:cubicBezTo>
                  <a:pt x="0" y="61"/>
                  <a:pt x="0" y="61"/>
                  <a:pt x="1" y="61"/>
                </a:cubicBezTo>
                <a:cubicBezTo>
                  <a:pt x="10" y="61"/>
                  <a:pt x="17" y="55"/>
                  <a:pt x="22" y="46"/>
                </a:cubicBezTo>
                <a:cubicBezTo>
                  <a:pt x="17" y="48"/>
                  <a:pt x="6" y="50"/>
                  <a:pt x="1" y="36"/>
                </a:cubicBezTo>
                <a:cubicBezTo>
                  <a:pt x="15" y="30"/>
                  <a:pt x="22" y="37"/>
                  <a:pt x="24" y="41"/>
                </a:cubicBezTo>
                <a:cubicBezTo>
                  <a:pt x="25" y="38"/>
                  <a:pt x="26" y="35"/>
                  <a:pt x="27" y="31"/>
                </a:cubicBezTo>
                <a:cubicBezTo>
                  <a:pt x="27" y="31"/>
                  <a:pt x="9" y="34"/>
                  <a:pt x="7" y="18"/>
                </a:cubicBezTo>
                <a:cubicBezTo>
                  <a:pt x="23" y="12"/>
                  <a:pt x="27" y="28"/>
                  <a:pt x="27" y="28"/>
                </a:cubicBezTo>
                <a:cubicBezTo>
                  <a:pt x="27" y="26"/>
                  <a:pt x="28" y="21"/>
                  <a:pt x="28" y="21"/>
                </a:cubicBezTo>
                <a:cubicBezTo>
                  <a:pt x="28" y="21"/>
                  <a:pt x="14" y="12"/>
                  <a:pt x="23" y="0"/>
                </a:cubicBezTo>
                <a:cubicBezTo>
                  <a:pt x="39" y="5"/>
                  <a:pt x="31" y="21"/>
                  <a:pt x="31" y="21"/>
                </a:cubicBezTo>
                <a:cubicBezTo>
                  <a:pt x="31" y="21"/>
                  <a:pt x="31" y="24"/>
                  <a:pt x="31" y="25"/>
                </a:cubicBezTo>
                <a:cubicBezTo>
                  <a:pt x="31" y="25"/>
                  <a:pt x="37" y="14"/>
                  <a:pt x="48" y="18"/>
                </a:cubicBezTo>
                <a:cubicBezTo>
                  <a:pt x="48" y="35"/>
                  <a:pt x="30" y="32"/>
                  <a:pt x="30" y="32"/>
                </a:cubicBezTo>
                <a:cubicBezTo>
                  <a:pt x="29" y="35"/>
                  <a:pt x="29" y="39"/>
                  <a:pt x="27" y="42"/>
                </a:cubicBezTo>
                <a:cubicBezTo>
                  <a:pt x="27" y="42"/>
                  <a:pt x="38" y="30"/>
                  <a:pt x="50" y="39"/>
                </a:cubicBezTo>
                <a:cubicBezTo>
                  <a:pt x="43" y="57"/>
                  <a:pt x="25" y="46"/>
                  <a:pt x="25" y="46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17">
            <a:extLst>
              <a:ext uri="{FF2B5EF4-FFF2-40B4-BE49-F238E27FC236}">
                <a16:creationId xmlns:a16="http://schemas.microsoft.com/office/drawing/2014/main" id="{9B5699F4-3A07-3080-A47E-46624E81384A}"/>
              </a:ext>
            </a:extLst>
          </p:cNvPr>
          <p:cNvSpPr>
            <a:spLocks noEditPoints="1"/>
          </p:cNvSpPr>
          <p:nvPr/>
        </p:nvSpPr>
        <p:spPr bwMode="auto">
          <a:xfrm>
            <a:off x="1520161" y="2766336"/>
            <a:ext cx="497654" cy="373238"/>
          </a:xfrm>
          <a:custGeom>
            <a:avLst/>
            <a:gdLst/>
            <a:ahLst/>
            <a:cxnLst>
              <a:cxn ang="0">
                <a:pos x="78" y="58"/>
              </a:cxn>
              <a:cxn ang="0">
                <a:pos x="0" y="58"/>
              </a:cxn>
              <a:cxn ang="0">
                <a:pos x="0" y="0"/>
              </a:cxn>
              <a:cxn ang="0">
                <a:pos x="5" y="0"/>
              </a:cxn>
              <a:cxn ang="0">
                <a:pos x="5" y="53"/>
              </a:cxn>
              <a:cxn ang="0">
                <a:pos x="78" y="53"/>
              </a:cxn>
              <a:cxn ang="0">
                <a:pos x="78" y="58"/>
              </a:cxn>
              <a:cxn ang="0">
                <a:pos x="73" y="22"/>
              </a:cxn>
              <a:cxn ang="0">
                <a:pos x="71" y="23"/>
              </a:cxn>
              <a:cxn ang="0">
                <a:pos x="66" y="18"/>
              </a:cxn>
              <a:cxn ang="0">
                <a:pos x="42" y="42"/>
              </a:cxn>
              <a:cxn ang="0">
                <a:pos x="40" y="42"/>
              </a:cxn>
              <a:cxn ang="0">
                <a:pos x="31" y="34"/>
              </a:cxn>
              <a:cxn ang="0">
                <a:pos x="16" y="49"/>
              </a:cxn>
              <a:cxn ang="0">
                <a:pos x="8" y="42"/>
              </a:cxn>
              <a:cxn ang="0">
                <a:pos x="30" y="20"/>
              </a:cxn>
              <a:cxn ang="0">
                <a:pos x="32" y="20"/>
              </a:cxn>
              <a:cxn ang="0">
                <a:pos x="41" y="29"/>
              </a:cxn>
              <a:cxn ang="0">
                <a:pos x="59" y="11"/>
              </a:cxn>
              <a:cxn ang="0">
                <a:pos x="54" y="6"/>
              </a:cxn>
              <a:cxn ang="0">
                <a:pos x="55" y="4"/>
              </a:cxn>
              <a:cxn ang="0">
                <a:pos x="71" y="4"/>
              </a:cxn>
              <a:cxn ang="0">
                <a:pos x="73" y="6"/>
              </a:cxn>
              <a:cxn ang="0">
                <a:pos x="73" y="22"/>
              </a:cxn>
            </a:cxnLst>
            <a:rect l="0" t="0" r="r" b="b"/>
            <a:pathLst>
              <a:path w="78" h="58">
                <a:moveTo>
                  <a:pt x="78" y="58"/>
                </a:moveTo>
                <a:cubicBezTo>
                  <a:pt x="0" y="58"/>
                  <a:pt x="0" y="58"/>
                  <a:pt x="0" y="58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53"/>
                  <a:pt x="5" y="53"/>
                  <a:pt x="5" y="53"/>
                </a:cubicBezTo>
                <a:cubicBezTo>
                  <a:pt x="78" y="53"/>
                  <a:pt x="78" y="53"/>
                  <a:pt x="78" y="53"/>
                </a:cubicBezTo>
                <a:lnTo>
                  <a:pt x="78" y="58"/>
                </a:lnTo>
                <a:close/>
                <a:moveTo>
                  <a:pt x="73" y="22"/>
                </a:moveTo>
                <a:cubicBezTo>
                  <a:pt x="73" y="23"/>
                  <a:pt x="71" y="24"/>
                  <a:pt x="71" y="23"/>
                </a:cubicBezTo>
                <a:cubicBezTo>
                  <a:pt x="66" y="18"/>
                  <a:pt x="66" y="18"/>
                  <a:pt x="66" y="18"/>
                </a:cubicBezTo>
                <a:cubicBezTo>
                  <a:pt x="42" y="42"/>
                  <a:pt x="42" y="42"/>
                  <a:pt x="42" y="42"/>
                </a:cubicBezTo>
                <a:cubicBezTo>
                  <a:pt x="41" y="43"/>
                  <a:pt x="41" y="43"/>
                  <a:pt x="40" y="42"/>
                </a:cubicBezTo>
                <a:cubicBezTo>
                  <a:pt x="31" y="34"/>
                  <a:pt x="31" y="34"/>
                  <a:pt x="31" y="34"/>
                </a:cubicBezTo>
                <a:cubicBezTo>
                  <a:pt x="16" y="49"/>
                  <a:pt x="16" y="49"/>
                  <a:pt x="16" y="49"/>
                </a:cubicBezTo>
                <a:cubicBezTo>
                  <a:pt x="8" y="42"/>
                  <a:pt x="8" y="42"/>
                  <a:pt x="8" y="42"/>
                </a:cubicBezTo>
                <a:cubicBezTo>
                  <a:pt x="30" y="20"/>
                  <a:pt x="30" y="20"/>
                  <a:pt x="30" y="20"/>
                </a:cubicBezTo>
                <a:cubicBezTo>
                  <a:pt x="31" y="19"/>
                  <a:pt x="32" y="19"/>
                  <a:pt x="32" y="20"/>
                </a:cubicBezTo>
                <a:cubicBezTo>
                  <a:pt x="41" y="29"/>
                  <a:pt x="41" y="29"/>
                  <a:pt x="41" y="29"/>
                </a:cubicBezTo>
                <a:cubicBezTo>
                  <a:pt x="59" y="11"/>
                  <a:pt x="59" y="11"/>
                  <a:pt x="59" y="11"/>
                </a:cubicBezTo>
                <a:cubicBezTo>
                  <a:pt x="54" y="6"/>
                  <a:pt x="54" y="6"/>
                  <a:pt x="54" y="6"/>
                </a:cubicBezTo>
                <a:cubicBezTo>
                  <a:pt x="53" y="6"/>
                  <a:pt x="54" y="4"/>
                  <a:pt x="55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3" y="5"/>
                  <a:pt x="73" y="6"/>
                </a:cubicBezTo>
                <a:lnTo>
                  <a:pt x="73" y="2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52" name="Freeform 217">
            <a:extLst>
              <a:ext uri="{FF2B5EF4-FFF2-40B4-BE49-F238E27FC236}">
                <a16:creationId xmlns:a16="http://schemas.microsoft.com/office/drawing/2014/main" id="{690B58BC-A646-4FAD-F9A1-DA72CF08725C}"/>
              </a:ext>
            </a:extLst>
          </p:cNvPr>
          <p:cNvSpPr>
            <a:spLocks noEditPoints="1"/>
          </p:cNvSpPr>
          <p:nvPr/>
        </p:nvSpPr>
        <p:spPr bwMode="auto">
          <a:xfrm>
            <a:off x="4500565" y="2470547"/>
            <a:ext cx="517067" cy="387798"/>
          </a:xfrm>
          <a:custGeom>
            <a:avLst/>
            <a:gdLst/>
            <a:ahLst/>
            <a:cxnLst>
              <a:cxn ang="0">
                <a:pos x="78" y="58"/>
              </a:cxn>
              <a:cxn ang="0">
                <a:pos x="0" y="58"/>
              </a:cxn>
              <a:cxn ang="0">
                <a:pos x="0" y="0"/>
              </a:cxn>
              <a:cxn ang="0">
                <a:pos x="5" y="0"/>
              </a:cxn>
              <a:cxn ang="0">
                <a:pos x="5" y="53"/>
              </a:cxn>
              <a:cxn ang="0">
                <a:pos x="78" y="53"/>
              </a:cxn>
              <a:cxn ang="0">
                <a:pos x="78" y="58"/>
              </a:cxn>
              <a:cxn ang="0">
                <a:pos x="73" y="22"/>
              </a:cxn>
              <a:cxn ang="0">
                <a:pos x="71" y="23"/>
              </a:cxn>
              <a:cxn ang="0">
                <a:pos x="66" y="18"/>
              </a:cxn>
              <a:cxn ang="0">
                <a:pos x="42" y="42"/>
              </a:cxn>
              <a:cxn ang="0">
                <a:pos x="40" y="42"/>
              </a:cxn>
              <a:cxn ang="0">
                <a:pos x="31" y="34"/>
              </a:cxn>
              <a:cxn ang="0">
                <a:pos x="16" y="49"/>
              </a:cxn>
              <a:cxn ang="0">
                <a:pos x="8" y="42"/>
              </a:cxn>
              <a:cxn ang="0">
                <a:pos x="30" y="20"/>
              </a:cxn>
              <a:cxn ang="0">
                <a:pos x="32" y="20"/>
              </a:cxn>
              <a:cxn ang="0">
                <a:pos x="41" y="29"/>
              </a:cxn>
              <a:cxn ang="0">
                <a:pos x="59" y="11"/>
              </a:cxn>
              <a:cxn ang="0">
                <a:pos x="54" y="6"/>
              </a:cxn>
              <a:cxn ang="0">
                <a:pos x="55" y="4"/>
              </a:cxn>
              <a:cxn ang="0">
                <a:pos x="71" y="4"/>
              </a:cxn>
              <a:cxn ang="0">
                <a:pos x="73" y="6"/>
              </a:cxn>
              <a:cxn ang="0">
                <a:pos x="73" y="22"/>
              </a:cxn>
            </a:cxnLst>
            <a:rect l="0" t="0" r="r" b="b"/>
            <a:pathLst>
              <a:path w="78" h="58">
                <a:moveTo>
                  <a:pt x="78" y="58"/>
                </a:moveTo>
                <a:cubicBezTo>
                  <a:pt x="0" y="58"/>
                  <a:pt x="0" y="58"/>
                  <a:pt x="0" y="58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53"/>
                  <a:pt x="5" y="53"/>
                  <a:pt x="5" y="53"/>
                </a:cubicBezTo>
                <a:cubicBezTo>
                  <a:pt x="78" y="53"/>
                  <a:pt x="78" y="53"/>
                  <a:pt x="78" y="53"/>
                </a:cubicBezTo>
                <a:lnTo>
                  <a:pt x="78" y="58"/>
                </a:lnTo>
                <a:close/>
                <a:moveTo>
                  <a:pt x="73" y="22"/>
                </a:moveTo>
                <a:cubicBezTo>
                  <a:pt x="73" y="23"/>
                  <a:pt x="71" y="24"/>
                  <a:pt x="71" y="23"/>
                </a:cubicBezTo>
                <a:cubicBezTo>
                  <a:pt x="66" y="18"/>
                  <a:pt x="66" y="18"/>
                  <a:pt x="66" y="18"/>
                </a:cubicBezTo>
                <a:cubicBezTo>
                  <a:pt x="42" y="42"/>
                  <a:pt x="42" y="42"/>
                  <a:pt x="42" y="42"/>
                </a:cubicBezTo>
                <a:cubicBezTo>
                  <a:pt x="41" y="43"/>
                  <a:pt x="41" y="43"/>
                  <a:pt x="40" y="42"/>
                </a:cubicBezTo>
                <a:cubicBezTo>
                  <a:pt x="31" y="34"/>
                  <a:pt x="31" y="34"/>
                  <a:pt x="31" y="34"/>
                </a:cubicBezTo>
                <a:cubicBezTo>
                  <a:pt x="16" y="49"/>
                  <a:pt x="16" y="49"/>
                  <a:pt x="16" y="49"/>
                </a:cubicBezTo>
                <a:cubicBezTo>
                  <a:pt x="8" y="42"/>
                  <a:pt x="8" y="42"/>
                  <a:pt x="8" y="42"/>
                </a:cubicBezTo>
                <a:cubicBezTo>
                  <a:pt x="30" y="20"/>
                  <a:pt x="30" y="20"/>
                  <a:pt x="30" y="20"/>
                </a:cubicBezTo>
                <a:cubicBezTo>
                  <a:pt x="31" y="19"/>
                  <a:pt x="32" y="19"/>
                  <a:pt x="32" y="20"/>
                </a:cubicBezTo>
                <a:cubicBezTo>
                  <a:pt x="41" y="29"/>
                  <a:pt x="41" y="29"/>
                  <a:pt x="41" y="29"/>
                </a:cubicBezTo>
                <a:cubicBezTo>
                  <a:pt x="59" y="11"/>
                  <a:pt x="59" y="11"/>
                  <a:pt x="59" y="11"/>
                </a:cubicBezTo>
                <a:cubicBezTo>
                  <a:pt x="54" y="6"/>
                  <a:pt x="54" y="6"/>
                  <a:pt x="54" y="6"/>
                </a:cubicBezTo>
                <a:cubicBezTo>
                  <a:pt x="53" y="6"/>
                  <a:pt x="54" y="4"/>
                  <a:pt x="55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3" y="5"/>
                  <a:pt x="73" y="6"/>
                </a:cubicBezTo>
                <a:lnTo>
                  <a:pt x="73" y="2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  <p:sp>
        <p:nvSpPr>
          <p:cNvPr id="55" name="Freeform 101">
            <a:extLst>
              <a:ext uri="{FF2B5EF4-FFF2-40B4-BE49-F238E27FC236}">
                <a16:creationId xmlns:a16="http://schemas.microsoft.com/office/drawing/2014/main" id="{331E1E4F-669F-4189-FB5B-91B04F85388A}"/>
              </a:ext>
            </a:extLst>
          </p:cNvPr>
          <p:cNvSpPr>
            <a:spLocks noEditPoints="1"/>
          </p:cNvSpPr>
          <p:nvPr/>
        </p:nvSpPr>
        <p:spPr bwMode="auto">
          <a:xfrm>
            <a:off x="1061125" y="4420438"/>
            <a:ext cx="793353" cy="525709"/>
          </a:xfrm>
          <a:custGeom>
            <a:avLst/>
            <a:gdLst/>
            <a:ahLst/>
            <a:cxnLst>
              <a:cxn ang="0">
                <a:pos x="77" y="43"/>
              </a:cxn>
              <a:cxn ang="0">
                <a:pos x="77" y="47"/>
              </a:cxn>
              <a:cxn ang="0">
                <a:pos x="70" y="51"/>
              </a:cxn>
              <a:cxn ang="0">
                <a:pos x="6" y="51"/>
              </a:cxn>
              <a:cxn ang="0">
                <a:pos x="0" y="47"/>
              </a:cxn>
              <a:cxn ang="0">
                <a:pos x="0" y="43"/>
              </a:cxn>
              <a:cxn ang="0">
                <a:pos x="6" y="43"/>
              </a:cxn>
              <a:cxn ang="0">
                <a:pos x="70" y="43"/>
              </a:cxn>
              <a:cxn ang="0">
                <a:pos x="77" y="43"/>
              </a:cxn>
              <a:cxn ang="0">
                <a:pos x="10" y="34"/>
              </a:cxn>
              <a:cxn ang="0">
                <a:pos x="10" y="6"/>
              </a:cxn>
              <a:cxn ang="0">
                <a:pos x="16" y="0"/>
              </a:cxn>
              <a:cxn ang="0">
                <a:pos x="60" y="0"/>
              </a:cxn>
              <a:cxn ang="0">
                <a:pos x="67" y="6"/>
              </a:cxn>
              <a:cxn ang="0">
                <a:pos x="67" y="34"/>
              </a:cxn>
              <a:cxn ang="0">
                <a:pos x="60" y="41"/>
              </a:cxn>
              <a:cxn ang="0">
                <a:pos x="16" y="41"/>
              </a:cxn>
              <a:cxn ang="0">
                <a:pos x="10" y="34"/>
              </a:cxn>
              <a:cxn ang="0">
                <a:pos x="15" y="34"/>
              </a:cxn>
              <a:cxn ang="0">
                <a:pos x="16" y="36"/>
              </a:cxn>
              <a:cxn ang="0">
                <a:pos x="60" y="36"/>
              </a:cxn>
              <a:cxn ang="0">
                <a:pos x="61" y="34"/>
              </a:cxn>
              <a:cxn ang="0">
                <a:pos x="61" y="6"/>
              </a:cxn>
              <a:cxn ang="0">
                <a:pos x="60" y="5"/>
              </a:cxn>
              <a:cxn ang="0">
                <a:pos x="16" y="5"/>
              </a:cxn>
              <a:cxn ang="0">
                <a:pos x="15" y="6"/>
              </a:cxn>
              <a:cxn ang="0">
                <a:pos x="15" y="34"/>
              </a:cxn>
              <a:cxn ang="0">
                <a:pos x="42" y="47"/>
              </a:cxn>
              <a:cxn ang="0">
                <a:pos x="42" y="46"/>
              </a:cxn>
              <a:cxn ang="0">
                <a:pos x="35" y="46"/>
              </a:cxn>
              <a:cxn ang="0">
                <a:pos x="34" y="47"/>
              </a:cxn>
              <a:cxn ang="0">
                <a:pos x="35" y="47"/>
              </a:cxn>
              <a:cxn ang="0">
                <a:pos x="42" y="47"/>
              </a:cxn>
              <a:cxn ang="0">
                <a:pos x="42" y="47"/>
              </a:cxn>
            </a:cxnLst>
            <a:rect l="0" t="0" r="r" b="b"/>
            <a:pathLst>
              <a:path w="77" h="51">
                <a:moveTo>
                  <a:pt x="77" y="43"/>
                </a:moveTo>
                <a:cubicBezTo>
                  <a:pt x="77" y="47"/>
                  <a:pt x="77" y="47"/>
                  <a:pt x="77" y="47"/>
                </a:cubicBezTo>
                <a:cubicBezTo>
                  <a:pt x="77" y="49"/>
                  <a:pt x="74" y="51"/>
                  <a:pt x="70" y="51"/>
                </a:cubicBezTo>
                <a:cubicBezTo>
                  <a:pt x="6" y="51"/>
                  <a:pt x="6" y="51"/>
                  <a:pt x="6" y="51"/>
                </a:cubicBezTo>
                <a:cubicBezTo>
                  <a:pt x="3" y="51"/>
                  <a:pt x="0" y="49"/>
                  <a:pt x="0" y="47"/>
                </a:cubicBezTo>
                <a:cubicBezTo>
                  <a:pt x="0" y="43"/>
                  <a:pt x="0" y="43"/>
                  <a:pt x="0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70" y="43"/>
                  <a:pt x="70" y="43"/>
                  <a:pt x="70" y="43"/>
                </a:cubicBezTo>
                <a:lnTo>
                  <a:pt x="77" y="43"/>
                </a:lnTo>
                <a:close/>
                <a:moveTo>
                  <a:pt x="10" y="34"/>
                </a:moveTo>
                <a:cubicBezTo>
                  <a:pt x="10" y="6"/>
                  <a:pt x="10" y="6"/>
                  <a:pt x="10" y="6"/>
                </a:cubicBezTo>
                <a:cubicBezTo>
                  <a:pt x="10" y="2"/>
                  <a:pt x="13" y="0"/>
                  <a:pt x="16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7" y="2"/>
                  <a:pt x="67" y="6"/>
                </a:cubicBezTo>
                <a:cubicBezTo>
                  <a:pt x="67" y="34"/>
                  <a:pt x="67" y="34"/>
                  <a:pt x="67" y="34"/>
                </a:cubicBezTo>
                <a:cubicBezTo>
                  <a:pt x="67" y="38"/>
                  <a:pt x="64" y="41"/>
                  <a:pt x="60" y="41"/>
                </a:cubicBezTo>
                <a:cubicBezTo>
                  <a:pt x="16" y="41"/>
                  <a:pt x="16" y="41"/>
                  <a:pt x="16" y="41"/>
                </a:cubicBezTo>
                <a:cubicBezTo>
                  <a:pt x="13" y="41"/>
                  <a:pt x="10" y="38"/>
                  <a:pt x="10" y="34"/>
                </a:cubicBezTo>
                <a:close/>
                <a:moveTo>
                  <a:pt x="15" y="34"/>
                </a:moveTo>
                <a:cubicBezTo>
                  <a:pt x="15" y="35"/>
                  <a:pt x="16" y="36"/>
                  <a:pt x="16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1" y="36"/>
                  <a:pt x="61" y="35"/>
                  <a:pt x="61" y="34"/>
                </a:cubicBezTo>
                <a:cubicBezTo>
                  <a:pt x="61" y="6"/>
                  <a:pt x="61" y="6"/>
                  <a:pt x="61" y="6"/>
                </a:cubicBezTo>
                <a:cubicBezTo>
                  <a:pt x="61" y="5"/>
                  <a:pt x="61" y="5"/>
                  <a:pt x="60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5"/>
                  <a:pt x="15" y="6"/>
                </a:cubicBezTo>
                <a:lnTo>
                  <a:pt x="15" y="34"/>
                </a:lnTo>
                <a:close/>
                <a:moveTo>
                  <a:pt x="42" y="47"/>
                </a:moveTo>
                <a:cubicBezTo>
                  <a:pt x="42" y="46"/>
                  <a:pt x="42" y="46"/>
                  <a:pt x="42" y="46"/>
                </a:cubicBezTo>
                <a:cubicBezTo>
                  <a:pt x="35" y="46"/>
                  <a:pt x="35" y="46"/>
                  <a:pt x="35" y="46"/>
                </a:cubicBezTo>
                <a:cubicBezTo>
                  <a:pt x="35" y="46"/>
                  <a:pt x="34" y="46"/>
                  <a:pt x="34" y="47"/>
                </a:cubicBezTo>
                <a:cubicBezTo>
                  <a:pt x="34" y="47"/>
                  <a:pt x="35" y="47"/>
                  <a:pt x="35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101">
            <a:extLst>
              <a:ext uri="{FF2B5EF4-FFF2-40B4-BE49-F238E27FC236}">
                <a16:creationId xmlns:a16="http://schemas.microsoft.com/office/drawing/2014/main" id="{8D65F4EA-8F97-64B3-65FE-04397F19FDD2}"/>
              </a:ext>
            </a:extLst>
          </p:cNvPr>
          <p:cNvSpPr>
            <a:spLocks noEditPoints="1"/>
          </p:cNvSpPr>
          <p:nvPr/>
        </p:nvSpPr>
        <p:spPr bwMode="auto">
          <a:xfrm>
            <a:off x="4495090" y="4806155"/>
            <a:ext cx="577635" cy="382765"/>
          </a:xfrm>
          <a:custGeom>
            <a:avLst/>
            <a:gdLst/>
            <a:ahLst/>
            <a:cxnLst>
              <a:cxn ang="0">
                <a:pos x="77" y="43"/>
              </a:cxn>
              <a:cxn ang="0">
                <a:pos x="77" y="47"/>
              </a:cxn>
              <a:cxn ang="0">
                <a:pos x="70" y="51"/>
              </a:cxn>
              <a:cxn ang="0">
                <a:pos x="6" y="51"/>
              </a:cxn>
              <a:cxn ang="0">
                <a:pos x="0" y="47"/>
              </a:cxn>
              <a:cxn ang="0">
                <a:pos x="0" y="43"/>
              </a:cxn>
              <a:cxn ang="0">
                <a:pos x="6" y="43"/>
              </a:cxn>
              <a:cxn ang="0">
                <a:pos x="70" y="43"/>
              </a:cxn>
              <a:cxn ang="0">
                <a:pos x="77" y="43"/>
              </a:cxn>
              <a:cxn ang="0">
                <a:pos x="10" y="34"/>
              </a:cxn>
              <a:cxn ang="0">
                <a:pos x="10" y="6"/>
              </a:cxn>
              <a:cxn ang="0">
                <a:pos x="16" y="0"/>
              </a:cxn>
              <a:cxn ang="0">
                <a:pos x="60" y="0"/>
              </a:cxn>
              <a:cxn ang="0">
                <a:pos x="67" y="6"/>
              </a:cxn>
              <a:cxn ang="0">
                <a:pos x="67" y="34"/>
              </a:cxn>
              <a:cxn ang="0">
                <a:pos x="60" y="41"/>
              </a:cxn>
              <a:cxn ang="0">
                <a:pos x="16" y="41"/>
              </a:cxn>
              <a:cxn ang="0">
                <a:pos x="10" y="34"/>
              </a:cxn>
              <a:cxn ang="0">
                <a:pos x="15" y="34"/>
              </a:cxn>
              <a:cxn ang="0">
                <a:pos x="16" y="36"/>
              </a:cxn>
              <a:cxn ang="0">
                <a:pos x="60" y="36"/>
              </a:cxn>
              <a:cxn ang="0">
                <a:pos x="61" y="34"/>
              </a:cxn>
              <a:cxn ang="0">
                <a:pos x="61" y="6"/>
              </a:cxn>
              <a:cxn ang="0">
                <a:pos x="60" y="5"/>
              </a:cxn>
              <a:cxn ang="0">
                <a:pos x="16" y="5"/>
              </a:cxn>
              <a:cxn ang="0">
                <a:pos x="15" y="6"/>
              </a:cxn>
              <a:cxn ang="0">
                <a:pos x="15" y="34"/>
              </a:cxn>
              <a:cxn ang="0">
                <a:pos x="42" y="47"/>
              </a:cxn>
              <a:cxn ang="0">
                <a:pos x="42" y="46"/>
              </a:cxn>
              <a:cxn ang="0">
                <a:pos x="35" y="46"/>
              </a:cxn>
              <a:cxn ang="0">
                <a:pos x="34" y="47"/>
              </a:cxn>
              <a:cxn ang="0">
                <a:pos x="35" y="47"/>
              </a:cxn>
              <a:cxn ang="0">
                <a:pos x="42" y="47"/>
              </a:cxn>
              <a:cxn ang="0">
                <a:pos x="42" y="47"/>
              </a:cxn>
            </a:cxnLst>
            <a:rect l="0" t="0" r="r" b="b"/>
            <a:pathLst>
              <a:path w="77" h="51">
                <a:moveTo>
                  <a:pt x="77" y="43"/>
                </a:moveTo>
                <a:cubicBezTo>
                  <a:pt x="77" y="47"/>
                  <a:pt x="77" y="47"/>
                  <a:pt x="77" y="47"/>
                </a:cubicBezTo>
                <a:cubicBezTo>
                  <a:pt x="77" y="49"/>
                  <a:pt x="74" y="51"/>
                  <a:pt x="70" y="51"/>
                </a:cubicBezTo>
                <a:cubicBezTo>
                  <a:pt x="6" y="51"/>
                  <a:pt x="6" y="51"/>
                  <a:pt x="6" y="51"/>
                </a:cubicBezTo>
                <a:cubicBezTo>
                  <a:pt x="3" y="51"/>
                  <a:pt x="0" y="49"/>
                  <a:pt x="0" y="47"/>
                </a:cubicBezTo>
                <a:cubicBezTo>
                  <a:pt x="0" y="43"/>
                  <a:pt x="0" y="43"/>
                  <a:pt x="0" y="43"/>
                </a:cubicBezTo>
                <a:cubicBezTo>
                  <a:pt x="6" y="43"/>
                  <a:pt x="6" y="43"/>
                  <a:pt x="6" y="43"/>
                </a:cubicBezTo>
                <a:cubicBezTo>
                  <a:pt x="70" y="43"/>
                  <a:pt x="70" y="43"/>
                  <a:pt x="70" y="43"/>
                </a:cubicBezTo>
                <a:lnTo>
                  <a:pt x="77" y="43"/>
                </a:lnTo>
                <a:close/>
                <a:moveTo>
                  <a:pt x="10" y="34"/>
                </a:moveTo>
                <a:cubicBezTo>
                  <a:pt x="10" y="6"/>
                  <a:pt x="10" y="6"/>
                  <a:pt x="10" y="6"/>
                </a:cubicBezTo>
                <a:cubicBezTo>
                  <a:pt x="10" y="2"/>
                  <a:pt x="13" y="0"/>
                  <a:pt x="16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4" y="0"/>
                  <a:pt x="67" y="2"/>
                  <a:pt x="67" y="6"/>
                </a:cubicBezTo>
                <a:cubicBezTo>
                  <a:pt x="67" y="34"/>
                  <a:pt x="67" y="34"/>
                  <a:pt x="67" y="34"/>
                </a:cubicBezTo>
                <a:cubicBezTo>
                  <a:pt x="67" y="38"/>
                  <a:pt x="64" y="41"/>
                  <a:pt x="60" y="41"/>
                </a:cubicBezTo>
                <a:cubicBezTo>
                  <a:pt x="16" y="41"/>
                  <a:pt x="16" y="41"/>
                  <a:pt x="16" y="41"/>
                </a:cubicBezTo>
                <a:cubicBezTo>
                  <a:pt x="13" y="41"/>
                  <a:pt x="10" y="38"/>
                  <a:pt x="10" y="34"/>
                </a:cubicBezTo>
                <a:close/>
                <a:moveTo>
                  <a:pt x="15" y="34"/>
                </a:moveTo>
                <a:cubicBezTo>
                  <a:pt x="15" y="35"/>
                  <a:pt x="16" y="36"/>
                  <a:pt x="16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1" y="36"/>
                  <a:pt x="61" y="35"/>
                  <a:pt x="61" y="34"/>
                </a:cubicBezTo>
                <a:cubicBezTo>
                  <a:pt x="61" y="6"/>
                  <a:pt x="61" y="6"/>
                  <a:pt x="61" y="6"/>
                </a:cubicBezTo>
                <a:cubicBezTo>
                  <a:pt x="61" y="5"/>
                  <a:pt x="61" y="5"/>
                  <a:pt x="60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5" y="5"/>
                  <a:pt x="15" y="6"/>
                </a:cubicBezTo>
                <a:lnTo>
                  <a:pt x="15" y="34"/>
                </a:lnTo>
                <a:close/>
                <a:moveTo>
                  <a:pt x="42" y="47"/>
                </a:moveTo>
                <a:cubicBezTo>
                  <a:pt x="42" y="46"/>
                  <a:pt x="42" y="46"/>
                  <a:pt x="42" y="46"/>
                </a:cubicBezTo>
                <a:cubicBezTo>
                  <a:pt x="35" y="46"/>
                  <a:pt x="35" y="46"/>
                  <a:pt x="35" y="46"/>
                </a:cubicBezTo>
                <a:cubicBezTo>
                  <a:pt x="35" y="46"/>
                  <a:pt x="34" y="46"/>
                  <a:pt x="34" y="47"/>
                </a:cubicBezTo>
                <a:cubicBezTo>
                  <a:pt x="34" y="47"/>
                  <a:pt x="35" y="47"/>
                  <a:pt x="35" y="47"/>
                </a:cubicBezTo>
                <a:cubicBezTo>
                  <a:pt x="42" y="47"/>
                  <a:pt x="42" y="47"/>
                  <a:pt x="42" y="47"/>
                </a:cubicBezTo>
                <a:cubicBezTo>
                  <a:pt x="42" y="47"/>
                  <a:pt x="42" y="47"/>
                  <a:pt x="42" y="47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298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412DA1-D9A8-FB64-E6EC-D5639CB274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modell Pay-per-Part am Beispiel der </a:t>
            </a:r>
            <a:r>
              <a:rPr lang="de-DE" dirty="0" err="1"/>
              <a:t>TruLaser</a:t>
            </a:r>
            <a:r>
              <a:rPr lang="de-DE" dirty="0"/>
              <a:t> Center 7030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1E8B37C-40AA-DB5C-62A3-CB62ED4196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eutige Herausforderungen in der Blechfertigung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98A34297-1185-E950-E224-E077838B477E}"/>
              </a:ext>
            </a:extLst>
          </p:cNvPr>
          <p:cNvGrpSpPr/>
          <p:nvPr/>
        </p:nvGrpSpPr>
        <p:grpSpPr>
          <a:xfrm>
            <a:off x="515938" y="1201763"/>
            <a:ext cx="10859188" cy="4860613"/>
            <a:chOff x="313628" y="1138293"/>
            <a:chExt cx="8830372" cy="3952507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AA4C3AF1-AE8A-7B27-76E1-91F0D0526A06}"/>
                </a:ext>
              </a:extLst>
            </p:cNvPr>
            <p:cNvSpPr/>
            <p:nvPr/>
          </p:nvSpPr>
          <p:spPr bwMode="auto">
            <a:xfrm>
              <a:off x="6628589" y="1138293"/>
              <a:ext cx="2515411" cy="3952507"/>
            </a:xfrm>
            <a:custGeom>
              <a:avLst/>
              <a:gdLst>
                <a:gd name="connsiteX0" fmla="*/ 1198333 w 1690830"/>
                <a:gd name="connsiteY0" fmla="*/ 881168 h 2656830"/>
                <a:gd name="connsiteX1" fmla="*/ 1133396 w 1690830"/>
                <a:gd name="connsiteY1" fmla="*/ 1016589 h 2656830"/>
                <a:gd name="connsiteX2" fmla="*/ 1113291 w 1690830"/>
                <a:gd name="connsiteY2" fmla="*/ 1058517 h 2656830"/>
                <a:gd name="connsiteX3" fmla="*/ 814389 w 1690830"/>
                <a:gd name="connsiteY3" fmla="*/ 1163641 h 2656830"/>
                <a:gd name="connsiteX4" fmla="*/ 919558 w 1690830"/>
                <a:gd name="connsiteY4" fmla="*/ 1462528 h 2656830"/>
                <a:gd name="connsiteX5" fmla="*/ 909094 w 1690830"/>
                <a:gd name="connsiteY5" fmla="*/ 1484350 h 2656830"/>
                <a:gd name="connsiteX6" fmla="*/ 899453 w 1690830"/>
                <a:gd name="connsiteY6" fmla="*/ 1504455 h 2656830"/>
                <a:gd name="connsiteX7" fmla="*/ 888930 w 1690830"/>
                <a:gd name="connsiteY7" fmla="*/ 1526400 h 2656830"/>
                <a:gd name="connsiteX8" fmla="*/ 834515 w 1690830"/>
                <a:gd name="connsiteY8" fmla="*/ 1639875 h 2656830"/>
                <a:gd name="connsiteX9" fmla="*/ 834516 w 1690830"/>
                <a:gd name="connsiteY9" fmla="*/ 1639876 h 2656830"/>
                <a:gd name="connsiteX10" fmla="*/ 888930 w 1690830"/>
                <a:gd name="connsiteY10" fmla="*/ 1526400 h 2656830"/>
                <a:gd name="connsiteX11" fmla="*/ 899452 w 1690830"/>
                <a:gd name="connsiteY11" fmla="*/ 1504456 h 2656830"/>
                <a:gd name="connsiteX12" fmla="*/ 909094 w 1690830"/>
                <a:gd name="connsiteY12" fmla="*/ 1484350 h 2656830"/>
                <a:gd name="connsiteX13" fmla="*/ 919559 w 1690830"/>
                <a:gd name="connsiteY13" fmla="*/ 1462526 h 2656830"/>
                <a:gd name="connsiteX14" fmla="*/ 1218462 w 1690830"/>
                <a:gd name="connsiteY14" fmla="*/ 1357403 h 2656830"/>
                <a:gd name="connsiteX15" fmla="*/ 1113291 w 1690830"/>
                <a:gd name="connsiteY15" fmla="*/ 1058517 h 2656830"/>
                <a:gd name="connsiteX16" fmla="*/ 1133398 w 1690830"/>
                <a:gd name="connsiteY16" fmla="*/ 1016589 h 2656830"/>
                <a:gd name="connsiteX17" fmla="*/ 1198335 w 1690830"/>
                <a:gd name="connsiteY17" fmla="*/ 881169 h 2656830"/>
                <a:gd name="connsiteX18" fmla="*/ 1618436 w 1690830"/>
                <a:gd name="connsiteY18" fmla="*/ 0 h 2656830"/>
                <a:gd name="connsiteX19" fmla="*/ 1690830 w 1690830"/>
                <a:gd name="connsiteY19" fmla="*/ 41103 h 2656830"/>
                <a:gd name="connsiteX20" fmla="*/ 1690830 w 1690830"/>
                <a:gd name="connsiteY20" fmla="*/ 2480977 h 2656830"/>
                <a:gd name="connsiteX21" fmla="*/ 1677385 w 1690830"/>
                <a:gd name="connsiteY21" fmla="*/ 2489399 h 2656830"/>
                <a:gd name="connsiteX22" fmla="*/ 410447 w 1690830"/>
                <a:gd name="connsiteY22" fmla="*/ 2519140 h 2656830"/>
                <a:gd name="connsiteX23" fmla="*/ 514262 w 1690830"/>
                <a:gd name="connsiteY23" fmla="*/ 2302642 h 2656830"/>
                <a:gd name="connsiteX24" fmla="*/ 575158 w 1690830"/>
                <a:gd name="connsiteY24" fmla="*/ 2175652 h 2656830"/>
                <a:gd name="connsiteX25" fmla="*/ 485675 w 1690830"/>
                <a:gd name="connsiteY25" fmla="*/ 2127048 h 2656830"/>
                <a:gd name="connsiteX26" fmla="*/ 100111 w 1690830"/>
                <a:gd name="connsiteY26" fmla="*/ 821127 h 2656830"/>
                <a:gd name="connsiteX27" fmla="*/ 1359800 w 1690830"/>
                <a:gd name="connsiteY27" fmla="*/ 304146 h 2656830"/>
                <a:gd name="connsiteX28" fmla="*/ 1453724 w 1690830"/>
                <a:gd name="connsiteY28" fmla="*/ 343491 h 2656830"/>
                <a:gd name="connsiteX29" fmla="*/ 1514620 w 1690830"/>
                <a:gd name="connsiteY29" fmla="*/ 216496 h 2656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90830" h="2656830">
                  <a:moveTo>
                    <a:pt x="1198333" y="881168"/>
                  </a:moveTo>
                  <a:lnTo>
                    <a:pt x="1133396" y="1016589"/>
                  </a:lnTo>
                  <a:lnTo>
                    <a:pt x="1113291" y="1058517"/>
                  </a:lnTo>
                  <a:cubicBezTo>
                    <a:pt x="1001710" y="1005011"/>
                    <a:pt x="867888" y="1052078"/>
                    <a:pt x="814389" y="1163641"/>
                  </a:cubicBezTo>
                  <a:cubicBezTo>
                    <a:pt x="760891" y="1275206"/>
                    <a:pt x="807977" y="1409023"/>
                    <a:pt x="919558" y="1462528"/>
                  </a:cubicBezTo>
                  <a:lnTo>
                    <a:pt x="909094" y="1484350"/>
                  </a:lnTo>
                  <a:lnTo>
                    <a:pt x="899453" y="1504455"/>
                  </a:lnTo>
                  <a:lnTo>
                    <a:pt x="888930" y="1526400"/>
                  </a:lnTo>
                  <a:lnTo>
                    <a:pt x="834515" y="1639875"/>
                  </a:lnTo>
                  <a:lnTo>
                    <a:pt x="834516" y="1639876"/>
                  </a:lnTo>
                  <a:lnTo>
                    <a:pt x="888930" y="1526400"/>
                  </a:lnTo>
                  <a:lnTo>
                    <a:pt x="899452" y="1504456"/>
                  </a:lnTo>
                  <a:lnTo>
                    <a:pt x="909094" y="1484350"/>
                  </a:lnTo>
                  <a:lnTo>
                    <a:pt x="919559" y="1462526"/>
                  </a:lnTo>
                  <a:cubicBezTo>
                    <a:pt x="1031141" y="1516033"/>
                    <a:pt x="1164963" y="1468968"/>
                    <a:pt x="1218462" y="1357403"/>
                  </a:cubicBezTo>
                  <a:cubicBezTo>
                    <a:pt x="1271959" y="1245837"/>
                    <a:pt x="1224874" y="1112022"/>
                    <a:pt x="1113291" y="1058517"/>
                  </a:cubicBezTo>
                  <a:lnTo>
                    <a:pt x="1133398" y="1016589"/>
                  </a:lnTo>
                  <a:lnTo>
                    <a:pt x="1198335" y="881169"/>
                  </a:lnTo>
                  <a:close/>
                  <a:moveTo>
                    <a:pt x="1618436" y="0"/>
                  </a:moveTo>
                  <a:lnTo>
                    <a:pt x="1690830" y="41103"/>
                  </a:lnTo>
                  <a:lnTo>
                    <a:pt x="1690830" y="2480977"/>
                  </a:lnTo>
                  <a:lnTo>
                    <a:pt x="1677385" y="2489399"/>
                  </a:lnTo>
                  <a:cubicBezTo>
                    <a:pt x="1297700" y="2693601"/>
                    <a:pt x="828980" y="2719837"/>
                    <a:pt x="410447" y="2519140"/>
                  </a:cubicBezTo>
                  <a:lnTo>
                    <a:pt x="514262" y="2302642"/>
                  </a:lnTo>
                  <a:lnTo>
                    <a:pt x="575158" y="2175652"/>
                  </a:lnTo>
                  <a:lnTo>
                    <a:pt x="485675" y="2127048"/>
                  </a:lnTo>
                  <a:cubicBezTo>
                    <a:pt x="46116" y="1858564"/>
                    <a:pt x="-127361" y="1295496"/>
                    <a:pt x="100111" y="821127"/>
                  </a:cubicBezTo>
                  <a:cubicBezTo>
                    <a:pt x="327582" y="346759"/>
                    <a:pt x="875246" y="129497"/>
                    <a:pt x="1359800" y="304146"/>
                  </a:cubicBezTo>
                  <a:lnTo>
                    <a:pt x="1453724" y="343491"/>
                  </a:lnTo>
                  <a:lnTo>
                    <a:pt x="1514620" y="21649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7A09FCB-6EC2-E435-7513-10734408BAFA}"/>
                </a:ext>
              </a:extLst>
            </p:cNvPr>
            <p:cNvSpPr/>
            <p:nvPr/>
          </p:nvSpPr>
          <p:spPr bwMode="auto">
            <a:xfrm rot="9392538" flipV="1">
              <a:off x="6645631" y="2118090"/>
              <a:ext cx="936556" cy="929827"/>
            </a:xfrm>
            <a:custGeom>
              <a:avLst/>
              <a:gdLst>
                <a:gd name="connsiteX0" fmla="*/ 473915 w 698801"/>
                <a:gd name="connsiteY0" fmla="*/ 201789 h 693780"/>
                <a:gd name="connsiteX1" fmla="*/ 654725 w 698801"/>
                <a:gd name="connsiteY1" fmla="*/ 424701 h 693780"/>
                <a:gd name="connsiteX2" fmla="*/ 698801 w 698801"/>
                <a:gd name="connsiteY2" fmla="*/ 506745 h 693780"/>
                <a:gd name="connsiteX3" fmla="*/ 246922 w 698801"/>
                <a:gd name="connsiteY3" fmla="*/ 693780 h 693780"/>
                <a:gd name="connsiteX4" fmla="*/ 210636 w 698801"/>
                <a:gd name="connsiteY4" fmla="*/ 635705 h 693780"/>
                <a:gd name="connsiteX5" fmla="*/ 141763 w 698801"/>
                <a:gd name="connsiteY5" fmla="*/ 559406 h 693780"/>
                <a:gd name="connsiteX6" fmla="*/ 60594 w 698801"/>
                <a:gd name="connsiteY6" fmla="*/ 496346 h 693780"/>
                <a:gd name="connsiteX7" fmla="*/ 0 w 698801"/>
                <a:gd name="connsiteY7" fmla="*/ 464439 h 693780"/>
                <a:gd name="connsiteX8" fmla="*/ 153211 w 698801"/>
                <a:gd name="connsiteY8" fmla="*/ 0 h 693780"/>
                <a:gd name="connsiteX9" fmla="*/ 238280 w 698801"/>
                <a:gd name="connsiteY9" fmla="*/ 37906 h 693780"/>
                <a:gd name="connsiteX10" fmla="*/ 473915 w 698801"/>
                <a:gd name="connsiteY10" fmla="*/ 201789 h 69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8801" h="693780">
                  <a:moveTo>
                    <a:pt x="473915" y="201789"/>
                  </a:moveTo>
                  <a:cubicBezTo>
                    <a:pt x="546191" y="268918"/>
                    <a:pt x="606494" y="344115"/>
                    <a:pt x="654725" y="424701"/>
                  </a:cubicBezTo>
                  <a:lnTo>
                    <a:pt x="698801" y="506745"/>
                  </a:lnTo>
                  <a:lnTo>
                    <a:pt x="246922" y="693780"/>
                  </a:lnTo>
                  <a:lnTo>
                    <a:pt x="210636" y="635705"/>
                  </a:lnTo>
                  <a:cubicBezTo>
                    <a:pt x="190326" y="608739"/>
                    <a:pt x="167363" y="583184"/>
                    <a:pt x="141763" y="559406"/>
                  </a:cubicBezTo>
                  <a:cubicBezTo>
                    <a:pt x="116162" y="535628"/>
                    <a:pt x="88983" y="514613"/>
                    <a:pt x="60594" y="496346"/>
                  </a:cubicBezTo>
                  <a:lnTo>
                    <a:pt x="0" y="464439"/>
                  </a:lnTo>
                  <a:lnTo>
                    <a:pt x="153211" y="0"/>
                  </a:lnTo>
                  <a:lnTo>
                    <a:pt x="238280" y="37906"/>
                  </a:lnTo>
                  <a:cubicBezTo>
                    <a:pt x="322203" y="80065"/>
                    <a:pt x="401640" y="134659"/>
                    <a:pt x="473915" y="201789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405D4D5-4571-CB05-125D-8EBA81A6B109}"/>
                </a:ext>
              </a:extLst>
            </p:cNvPr>
            <p:cNvSpPr/>
            <p:nvPr/>
          </p:nvSpPr>
          <p:spPr bwMode="auto">
            <a:xfrm rot="9392538" flipV="1">
              <a:off x="7294357" y="1774356"/>
              <a:ext cx="703820" cy="690279"/>
            </a:xfrm>
            <a:custGeom>
              <a:avLst/>
              <a:gdLst>
                <a:gd name="connsiteX0" fmla="*/ 525148 w 525148"/>
                <a:gd name="connsiteY0" fmla="*/ 55064 h 515043"/>
                <a:gd name="connsiteX1" fmla="*/ 373408 w 525148"/>
                <a:gd name="connsiteY1" fmla="*/ 515043 h 515043"/>
                <a:gd name="connsiteX2" fmla="*/ 293884 w 525148"/>
                <a:gd name="connsiteY2" fmla="*/ 489394 h 515043"/>
                <a:gd name="connsiteX3" fmla="*/ 5018 w 525148"/>
                <a:gd name="connsiteY3" fmla="*/ 496580 h 515043"/>
                <a:gd name="connsiteX4" fmla="*/ 0 w 525148"/>
                <a:gd name="connsiteY4" fmla="*/ 498477 h 515043"/>
                <a:gd name="connsiteX5" fmla="*/ 0 w 525148"/>
                <a:gd name="connsiteY5" fmla="*/ 21514 h 515043"/>
                <a:gd name="connsiteX6" fmla="*/ 26791 w 525148"/>
                <a:gd name="connsiteY6" fmla="*/ 14429 h 515043"/>
                <a:gd name="connsiteX7" fmla="*/ 480474 w 525148"/>
                <a:gd name="connsiteY7" fmla="*/ 39913 h 515043"/>
                <a:gd name="connsiteX8" fmla="*/ 525148 w 525148"/>
                <a:gd name="connsiteY8" fmla="*/ 55064 h 51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48" h="515043">
                  <a:moveTo>
                    <a:pt x="525148" y="55064"/>
                  </a:moveTo>
                  <a:lnTo>
                    <a:pt x="373408" y="515043"/>
                  </a:lnTo>
                  <a:lnTo>
                    <a:pt x="293884" y="489394"/>
                  </a:lnTo>
                  <a:cubicBezTo>
                    <a:pt x="198586" y="467416"/>
                    <a:pt x="98994" y="469934"/>
                    <a:pt x="5018" y="496580"/>
                  </a:cubicBezTo>
                  <a:lnTo>
                    <a:pt x="0" y="498477"/>
                  </a:lnTo>
                  <a:lnTo>
                    <a:pt x="0" y="21514"/>
                  </a:lnTo>
                  <a:lnTo>
                    <a:pt x="26791" y="14429"/>
                  </a:lnTo>
                  <a:cubicBezTo>
                    <a:pt x="177260" y="-11131"/>
                    <a:pt x="332619" y="-2790"/>
                    <a:pt x="480474" y="39913"/>
                  </a:cubicBezTo>
                  <a:lnTo>
                    <a:pt x="525148" y="55064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934B917-645E-B1BB-D27A-E76957112EFF}"/>
                </a:ext>
              </a:extLst>
            </p:cNvPr>
            <p:cNvSpPr/>
            <p:nvPr/>
          </p:nvSpPr>
          <p:spPr bwMode="auto">
            <a:xfrm rot="9392538" flipV="1">
              <a:off x="6788629" y="2898851"/>
              <a:ext cx="709463" cy="745719"/>
            </a:xfrm>
            <a:custGeom>
              <a:avLst/>
              <a:gdLst>
                <a:gd name="connsiteX0" fmla="*/ 447538 w 529357"/>
                <a:gd name="connsiteY0" fmla="*/ 0 h 556410"/>
                <a:gd name="connsiteX1" fmla="*/ 465941 w 529357"/>
                <a:gd name="connsiteY1" fmla="*/ 43434 h 556410"/>
                <a:gd name="connsiteX2" fmla="*/ 524804 w 529357"/>
                <a:gd name="connsiteY2" fmla="*/ 494003 h 556410"/>
                <a:gd name="connsiteX3" fmla="*/ 519713 w 529357"/>
                <a:gd name="connsiteY3" fmla="*/ 521246 h 556410"/>
                <a:gd name="connsiteX4" fmla="*/ 44051 w 529357"/>
                <a:gd name="connsiteY4" fmla="*/ 556410 h 556410"/>
                <a:gd name="connsiteX5" fmla="*/ 45573 w 529357"/>
                <a:gd name="connsiteY5" fmla="*/ 551266 h 556410"/>
                <a:gd name="connsiteX6" fmla="*/ 31443 w 529357"/>
                <a:gd name="connsiteY6" fmla="*/ 262657 h 556410"/>
                <a:gd name="connsiteX7" fmla="*/ 0 w 529357"/>
                <a:gd name="connsiteY7" fmla="*/ 185238 h 556410"/>
                <a:gd name="connsiteX8" fmla="*/ 447538 w 529357"/>
                <a:gd name="connsiteY8" fmla="*/ 0 h 55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357" h="556410">
                  <a:moveTo>
                    <a:pt x="447538" y="0"/>
                  </a:moveTo>
                  <a:lnTo>
                    <a:pt x="465941" y="43434"/>
                  </a:lnTo>
                  <a:cubicBezTo>
                    <a:pt x="519428" y="187738"/>
                    <a:pt x="539201" y="342059"/>
                    <a:pt x="524804" y="494003"/>
                  </a:cubicBezTo>
                  <a:lnTo>
                    <a:pt x="519713" y="521246"/>
                  </a:lnTo>
                  <a:lnTo>
                    <a:pt x="44051" y="556410"/>
                  </a:lnTo>
                  <a:lnTo>
                    <a:pt x="45573" y="551266"/>
                  </a:lnTo>
                  <a:cubicBezTo>
                    <a:pt x="65218" y="455582"/>
                    <a:pt x="60386" y="356075"/>
                    <a:pt x="31443" y="262657"/>
                  </a:cubicBezTo>
                  <a:lnTo>
                    <a:pt x="0" y="185238"/>
                  </a:lnTo>
                  <a:lnTo>
                    <a:pt x="447538" y="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CDADC20-807D-266E-F9EC-FF0281E6BC18}"/>
                </a:ext>
              </a:extLst>
            </p:cNvPr>
            <p:cNvSpPr/>
            <p:nvPr/>
          </p:nvSpPr>
          <p:spPr bwMode="auto">
            <a:xfrm rot="9392538" flipV="1">
              <a:off x="8033884" y="1516891"/>
              <a:ext cx="656229" cy="779568"/>
            </a:xfrm>
            <a:custGeom>
              <a:avLst/>
              <a:gdLst>
                <a:gd name="connsiteX0" fmla="*/ 489639 w 489639"/>
                <a:gd name="connsiteY0" fmla="*/ 0 h 581667"/>
                <a:gd name="connsiteX1" fmla="*/ 489639 w 489639"/>
                <a:gd name="connsiteY1" fmla="*/ 482156 h 581667"/>
                <a:gd name="connsiteX2" fmla="*/ 448638 w 489639"/>
                <a:gd name="connsiteY2" fmla="*/ 497653 h 581667"/>
                <a:gd name="connsiteX3" fmla="*/ 362847 w 489639"/>
                <a:gd name="connsiteY3" fmla="*/ 548335 h 581667"/>
                <a:gd name="connsiteX4" fmla="*/ 324984 w 489639"/>
                <a:gd name="connsiteY4" fmla="*/ 581667 h 581667"/>
                <a:gd name="connsiteX5" fmla="*/ 0 w 489639"/>
                <a:gd name="connsiteY5" fmla="*/ 279821 h 581667"/>
                <a:gd name="connsiteX6" fmla="*/ 62991 w 489639"/>
                <a:gd name="connsiteY6" fmla="*/ 218513 h 581667"/>
                <a:gd name="connsiteX7" fmla="*/ 384725 w 489639"/>
                <a:gd name="connsiteY7" fmla="*/ 27743 h 581667"/>
                <a:gd name="connsiteX8" fmla="*/ 489639 w 489639"/>
                <a:gd name="connsiteY8" fmla="*/ 0 h 581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9639" h="581667">
                  <a:moveTo>
                    <a:pt x="489639" y="0"/>
                  </a:moveTo>
                  <a:lnTo>
                    <a:pt x="489639" y="482156"/>
                  </a:lnTo>
                  <a:lnTo>
                    <a:pt x="448638" y="497653"/>
                  </a:lnTo>
                  <a:cubicBezTo>
                    <a:pt x="418928" y="511884"/>
                    <a:pt x="390209" y="528783"/>
                    <a:pt x="362847" y="548335"/>
                  </a:cubicBezTo>
                  <a:lnTo>
                    <a:pt x="324984" y="581667"/>
                  </a:lnTo>
                  <a:lnTo>
                    <a:pt x="0" y="279821"/>
                  </a:lnTo>
                  <a:lnTo>
                    <a:pt x="62991" y="218513"/>
                  </a:lnTo>
                  <a:cubicBezTo>
                    <a:pt x="159705" y="133499"/>
                    <a:pt x="269064" y="69831"/>
                    <a:pt x="384725" y="27743"/>
                  </a:cubicBezTo>
                  <a:lnTo>
                    <a:pt x="489639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129ABF7-05AB-0AE4-806E-82E646507A27}"/>
                </a:ext>
              </a:extLst>
            </p:cNvPr>
            <p:cNvSpPr/>
            <p:nvPr/>
          </p:nvSpPr>
          <p:spPr bwMode="auto">
            <a:xfrm rot="9392538" flipV="1">
              <a:off x="7099254" y="3579412"/>
              <a:ext cx="761172" cy="682095"/>
            </a:xfrm>
            <a:custGeom>
              <a:avLst/>
              <a:gdLst>
                <a:gd name="connsiteX0" fmla="*/ 567940 w 567940"/>
                <a:gd name="connsiteY0" fmla="*/ 0 h 508937"/>
                <a:gd name="connsiteX1" fmla="*/ 548008 w 567940"/>
                <a:gd name="connsiteY1" fmla="*/ 106672 h 508937"/>
                <a:gd name="connsiteX2" fmla="*/ 381479 w 567940"/>
                <a:gd name="connsiteY2" fmla="*/ 441596 h 508937"/>
                <a:gd name="connsiteX3" fmla="*/ 324983 w 567940"/>
                <a:gd name="connsiteY3" fmla="*/ 508937 h 508937"/>
                <a:gd name="connsiteX4" fmla="*/ 0 w 567940"/>
                <a:gd name="connsiteY4" fmla="*/ 207093 h 508937"/>
                <a:gd name="connsiteX5" fmla="*/ 30449 w 567940"/>
                <a:gd name="connsiteY5" fmla="*/ 166874 h 508937"/>
                <a:gd name="connsiteX6" fmla="*/ 74668 w 567940"/>
                <a:gd name="connsiteY6" fmla="*/ 77580 h 508937"/>
                <a:gd name="connsiteX7" fmla="*/ 87100 w 567940"/>
                <a:gd name="connsiteY7" fmla="*/ 35548 h 508937"/>
                <a:gd name="connsiteX8" fmla="*/ 567940 w 567940"/>
                <a:gd name="connsiteY8" fmla="*/ 0 h 50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7940" h="508937">
                  <a:moveTo>
                    <a:pt x="567940" y="0"/>
                  </a:moveTo>
                  <a:lnTo>
                    <a:pt x="548008" y="106672"/>
                  </a:lnTo>
                  <a:cubicBezTo>
                    <a:pt x="514562" y="225121"/>
                    <a:pt x="459130" y="338877"/>
                    <a:pt x="381479" y="441596"/>
                  </a:cubicBezTo>
                  <a:lnTo>
                    <a:pt x="324983" y="508937"/>
                  </a:lnTo>
                  <a:lnTo>
                    <a:pt x="0" y="207093"/>
                  </a:lnTo>
                  <a:lnTo>
                    <a:pt x="30449" y="166874"/>
                  </a:lnTo>
                  <a:cubicBezTo>
                    <a:pt x="47931" y="138146"/>
                    <a:pt x="62666" y="108259"/>
                    <a:pt x="74668" y="77580"/>
                  </a:cubicBezTo>
                  <a:lnTo>
                    <a:pt x="87100" y="35548"/>
                  </a:lnTo>
                  <a:lnTo>
                    <a:pt x="567940" y="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12" name="Freeform 52">
              <a:extLst>
                <a:ext uri="{FF2B5EF4-FFF2-40B4-BE49-F238E27FC236}">
                  <a16:creationId xmlns:a16="http://schemas.microsoft.com/office/drawing/2014/main" id="{7CD9E7E7-99AE-469C-03AC-CDFFD2C9A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824" y="1898929"/>
              <a:ext cx="348091" cy="348094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27" y="8"/>
                </a:cxn>
                <a:cxn ang="0">
                  <a:pos x="8" y="27"/>
                </a:cxn>
                <a:cxn ang="0">
                  <a:pos x="27" y="47"/>
                </a:cxn>
                <a:cxn ang="0">
                  <a:pos x="47" y="27"/>
                </a:cxn>
                <a:cxn ang="0">
                  <a:pos x="27" y="8"/>
                </a:cxn>
                <a:cxn ang="0">
                  <a:pos x="32" y="31"/>
                </a:cxn>
                <a:cxn ang="0">
                  <a:pos x="31" y="32"/>
                </a:cxn>
                <a:cxn ang="0">
                  <a:pos x="19" y="32"/>
                </a:cxn>
                <a:cxn ang="0">
                  <a:pos x="18" y="31"/>
                </a:cxn>
                <a:cxn ang="0">
                  <a:pos x="18" y="28"/>
                </a:cxn>
                <a:cxn ang="0">
                  <a:pos x="19" y="27"/>
                </a:cxn>
                <a:cxn ang="0">
                  <a:pos x="27" y="27"/>
                </a:cxn>
                <a:cxn ang="0">
                  <a:pos x="27" y="15"/>
                </a:cxn>
                <a:cxn ang="0">
                  <a:pos x="28" y="14"/>
                </a:cxn>
                <a:cxn ang="0">
                  <a:pos x="31" y="14"/>
                </a:cxn>
                <a:cxn ang="0">
                  <a:pos x="32" y="15"/>
                </a:cxn>
                <a:cxn ang="0">
                  <a:pos x="32" y="31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27" y="8"/>
                  </a:moveTo>
                  <a:cubicBezTo>
                    <a:pt x="16" y="8"/>
                    <a:pt x="8" y="17"/>
                    <a:pt x="8" y="27"/>
                  </a:cubicBezTo>
                  <a:cubicBezTo>
                    <a:pt x="8" y="38"/>
                    <a:pt x="16" y="47"/>
                    <a:pt x="27" y="47"/>
                  </a:cubicBezTo>
                  <a:cubicBezTo>
                    <a:pt x="38" y="47"/>
                    <a:pt x="47" y="38"/>
                    <a:pt x="47" y="27"/>
                  </a:cubicBezTo>
                  <a:cubicBezTo>
                    <a:pt x="47" y="17"/>
                    <a:pt x="38" y="8"/>
                    <a:pt x="27" y="8"/>
                  </a:cubicBezTo>
                  <a:close/>
                  <a:moveTo>
                    <a:pt x="32" y="31"/>
                  </a:moveTo>
                  <a:cubicBezTo>
                    <a:pt x="32" y="31"/>
                    <a:pt x="31" y="32"/>
                    <a:pt x="31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8" y="31"/>
                    <a:pt x="18" y="31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9" y="27"/>
                    <a:pt x="1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8" y="14"/>
                    <a:pt x="28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2" y="14"/>
                    <a:pt x="32" y="15"/>
                  </a:cubicBezTo>
                  <a:lnTo>
                    <a:pt x="32" y="3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8CCF07DF-FB21-D087-580B-5E69A5A7B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8453" y="3175008"/>
              <a:ext cx="297039" cy="281443"/>
            </a:xfrm>
            <a:custGeom>
              <a:avLst/>
              <a:gdLst/>
              <a:ahLst/>
              <a:cxnLst>
                <a:cxn ang="0">
                  <a:pos x="532" y="480"/>
                </a:cxn>
                <a:cxn ang="0">
                  <a:pos x="510" y="515"/>
                </a:cxn>
                <a:cxn ang="0">
                  <a:pos x="520" y="555"/>
                </a:cxn>
                <a:cxn ang="0">
                  <a:pos x="555" y="576"/>
                </a:cxn>
                <a:cxn ang="0">
                  <a:pos x="595" y="567"/>
                </a:cxn>
                <a:cxn ang="0">
                  <a:pos x="616" y="532"/>
                </a:cxn>
                <a:cxn ang="0">
                  <a:pos x="607" y="492"/>
                </a:cxn>
                <a:cxn ang="0">
                  <a:pos x="572" y="471"/>
                </a:cxn>
                <a:cxn ang="0">
                  <a:pos x="338" y="564"/>
                </a:cxn>
                <a:cxn ang="0">
                  <a:pos x="379" y="657"/>
                </a:cxn>
                <a:cxn ang="0">
                  <a:pos x="504" y="671"/>
                </a:cxn>
                <a:cxn ang="0">
                  <a:pos x="3" y="722"/>
                </a:cxn>
                <a:cxn ang="0">
                  <a:pos x="0" y="680"/>
                </a:cxn>
                <a:cxn ang="0">
                  <a:pos x="2" y="621"/>
                </a:cxn>
                <a:cxn ang="0">
                  <a:pos x="13" y="558"/>
                </a:cxn>
                <a:cxn ang="0">
                  <a:pos x="40" y="506"/>
                </a:cxn>
                <a:cxn ang="0">
                  <a:pos x="77" y="481"/>
                </a:cxn>
                <a:cxn ang="0">
                  <a:pos x="196" y="448"/>
                </a:cxn>
                <a:cxn ang="0">
                  <a:pos x="254" y="474"/>
                </a:cxn>
                <a:cxn ang="0">
                  <a:pos x="321" y="470"/>
                </a:cxn>
                <a:cxn ang="0">
                  <a:pos x="546" y="326"/>
                </a:cxn>
                <a:cxn ang="0">
                  <a:pos x="622" y="408"/>
                </a:cxn>
                <a:cxn ang="0">
                  <a:pos x="679" y="464"/>
                </a:cxn>
                <a:cxn ang="0">
                  <a:pos x="762" y="541"/>
                </a:cxn>
                <a:cxn ang="0">
                  <a:pos x="674" y="591"/>
                </a:cxn>
                <a:cxn ang="0">
                  <a:pos x="613" y="643"/>
                </a:cxn>
                <a:cxn ang="0">
                  <a:pos x="533" y="649"/>
                </a:cxn>
                <a:cxn ang="0">
                  <a:pos x="435" y="676"/>
                </a:cxn>
                <a:cxn ang="0">
                  <a:pos x="440" y="564"/>
                </a:cxn>
                <a:cxn ang="0">
                  <a:pos x="440" y="484"/>
                </a:cxn>
                <a:cxn ang="0">
                  <a:pos x="435" y="371"/>
                </a:cxn>
                <a:cxn ang="0">
                  <a:pos x="533" y="398"/>
                </a:cxn>
                <a:cxn ang="0">
                  <a:pos x="437" y="254"/>
                </a:cxn>
                <a:cxn ang="0">
                  <a:pos x="444" y="289"/>
                </a:cxn>
                <a:cxn ang="0">
                  <a:pos x="426" y="320"/>
                </a:cxn>
                <a:cxn ang="0">
                  <a:pos x="402" y="341"/>
                </a:cxn>
                <a:cxn ang="0">
                  <a:pos x="374" y="402"/>
                </a:cxn>
                <a:cxn ang="0">
                  <a:pos x="339" y="434"/>
                </a:cxn>
                <a:cxn ang="0">
                  <a:pos x="291" y="450"/>
                </a:cxn>
                <a:cxn ang="0">
                  <a:pos x="239" y="442"/>
                </a:cxn>
                <a:cxn ang="0">
                  <a:pos x="202" y="419"/>
                </a:cxn>
                <a:cxn ang="0">
                  <a:pos x="167" y="367"/>
                </a:cxn>
                <a:cxn ang="0">
                  <a:pos x="144" y="322"/>
                </a:cxn>
                <a:cxn ang="0">
                  <a:pos x="125" y="296"/>
                </a:cxn>
                <a:cxn ang="0">
                  <a:pos x="127" y="260"/>
                </a:cxn>
                <a:cxn ang="0">
                  <a:pos x="226" y="166"/>
                </a:cxn>
                <a:cxn ang="0">
                  <a:pos x="239" y="190"/>
                </a:cxn>
                <a:cxn ang="0">
                  <a:pos x="317" y="195"/>
                </a:cxn>
                <a:cxn ang="0">
                  <a:pos x="339" y="178"/>
                </a:cxn>
                <a:cxn ang="0">
                  <a:pos x="355" y="59"/>
                </a:cxn>
                <a:cxn ang="0">
                  <a:pos x="408" y="110"/>
                </a:cxn>
                <a:cxn ang="0">
                  <a:pos x="436" y="170"/>
                </a:cxn>
                <a:cxn ang="0">
                  <a:pos x="132" y="170"/>
                </a:cxn>
                <a:cxn ang="0">
                  <a:pos x="157" y="114"/>
                </a:cxn>
                <a:cxn ang="0">
                  <a:pos x="203" y="65"/>
                </a:cxn>
                <a:cxn ang="0">
                  <a:pos x="309" y="0"/>
                </a:cxn>
                <a:cxn ang="0">
                  <a:pos x="328" y="16"/>
                </a:cxn>
                <a:cxn ang="0">
                  <a:pos x="329" y="169"/>
                </a:cxn>
                <a:cxn ang="0">
                  <a:pos x="314" y="182"/>
                </a:cxn>
                <a:cxn ang="0">
                  <a:pos x="245" y="177"/>
                </a:cxn>
                <a:cxn ang="0">
                  <a:pos x="238" y="18"/>
                </a:cxn>
                <a:cxn ang="0">
                  <a:pos x="245" y="5"/>
                </a:cxn>
              </a:cxnLst>
              <a:rect l="0" t="0" r="r" b="b"/>
              <a:pathLst>
                <a:path w="762" h="722">
                  <a:moveTo>
                    <a:pt x="563" y="470"/>
                  </a:moveTo>
                  <a:lnTo>
                    <a:pt x="555" y="471"/>
                  </a:lnTo>
                  <a:lnTo>
                    <a:pt x="547" y="473"/>
                  </a:lnTo>
                  <a:lnTo>
                    <a:pt x="539" y="476"/>
                  </a:lnTo>
                  <a:lnTo>
                    <a:pt x="532" y="480"/>
                  </a:lnTo>
                  <a:lnTo>
                    <a:pt x="525" y="486"/>
                  </a:lnTo>
                  <a:lnTo>
                    <a:pt x="520" y="492"/>
                  </a:lnTo>
                  <a:lnTo>
                    <a:pt x="516" y="499"/>
                  </a:lnTo>
                  <a:lnTo>
                    <a:pt x="513" y="507"/>
                  </a:lnTo>
                  <a:lnTo>
                    <a:pt x="510" y="515"/>
                  </a:lnTo>
                  <a:lnTo>
                    <a:pt x="510" y="524"/>
                  </a:lnTo>
                  <a:lnTo>
                    <a:pt x="510" y="532"/>
                  </a:lnTo>
                  <a:lnTo>
                    <a:pt x="513" y="540"/>
                  </a:lnTo>
                  <a:lnTo>
                    <a:pt x="516" y="548"/>
                  </a:lnTo>
                  <a:lnTo>
                    <a:pt x="520" y="555"/>
                  </a:lnTo>
                  <a:lnTo>
                    <a:pt x="525" y="561"/>
                  </a:lnTo>
                  <a:lnTo>
                    <a:pt x="532" y="567"/>
                  </a:lnTo>
                  <a:lnTo>
                    <a:pt x="539" y="571"/>
                  </a:lnTo>
                  <a:lnTo>
                    <a:pt x="547" y="574"/>
                  </a:lnTo>
                  <a:lnTo>
                    <a:pt x="555" y="576"/>
                  </a:lnTo>
                  <a:lnTo>
                    <a:pt x="563" y="577"/>
                  </a:lnTo>
                  <a:lnTo>
                    <a:pt x="572" y="576"/>
                  </a:lnTo>
                  <a:lnTo>
                    <a:pt x="580" y="574"/>
                  </a:lnTo>
                  <a:lnTo>
                    <a:pt x="588" y="571"/>
                  </a:lnTo>
                  <a:lnTo>
                    <a:pt x="595" y="567"/>
                  </a:lnTo>
                  <a:lnTo>
                    <a:pt x="601" y="561"/>
                  </a:lnTo>
                  <a:lnTo>
                    <a:pt x="607" y="555"/>
                  </a:lnTo>
                  <a:lnTo>
                    <a:pt x="611" y="548"/>
                  </a:lnTo>
                  <a:lnTo>
                    <a:pt x="614" y="540"/>
                  </a:lnTo>
                  <a:lnTo>
                    <a:pt x="616" y="532"/>
                  </a:lnTo>
                  <a:lnTo>
                    <a:pt x="617" y="524"/>
                  </a:lnTo>
                  <a:lnTo>
                    <a:pt x="616" y="515"/>
                  </a:lnTo>
                  <a:lnTo>
                    <a:pt x="614" y="507"/>
                  </a:lnTo>
                  <a:lnTo>
                    <a:pt x="611" y="499"/>
                  </a:lnTo>
                  <a:lnTo>
                    <a:pt x="607" y="492"/>
                  </a:lnTo>
                  <a:lnTo>
                    <a:pt x="601" y="486"/>
                  </a:lnTo>
                  <a:lnTo>
                    <a:pt x="595" y="480"/>
                  </a:lnTo>
                  <a:lnTo>
                    <a:pt x="588" y="476"/>
                  </a:lnTo>
                  <a:lnTo>
                    <a:pt x="580" y="473"/>
                  </a:lnTo>
                  <a:lnTo>
                    <a:pt x="572" y="471"/>
                  </a:lnTo>
                  <a:lnTo>
                    <a:pt x="563" y="470"/>
                  </a:lnTo>
                  <a:close/>
                  <a:moveTo>
                    <a:pt x="369" y="444"/>
                  </a:moveTo>
                  <a:lnTo>
                    <a:pt x="399" y="473"/>
                  </a:lnTo>
                  <a:lnTo>
                    <a:pt x="339" y="484"/>
                  </a:lnTo>
                  <a:lnTo>
                    <a:pt x="338" y="564"/>
                  </a:lnTo>
                  <a:lnTo>
                    <a:pt x="421" y="579"/>
                  </a:lnTo>
                  <a:lnTo>
                    <a:pt x="422" y="581"/>
                  </a:lnTo>
                  <a:lnTo>
                    <a:pt x="422" y="582"/>
                  </a:lnTo>
                  <a:lnTo>
                    <a:pt x="424" y="586"/>
                  </a:lnTo>
                  <a:lnTo>
                    <a:pt x="379" y="657"/>
                  </a:lnTo>
                  <a:lnTo>
                    <a:pt x="431" y="709"/>
                  </a:lnTo>
                  <a:lnTo>
                    <a:pt x="495" y="667"/>
                  </a:lnTo>
                  <a:lnTo>
                    <a:pt x="497" y="668"/>
                  </a:lnTo>
                  <a:lnTo>
                    <a:pt x="500" y="670"/>
                  </a:lnTo>
                  <a:lnTo>
                    <a:pt x="504" y="671"/>
                  </a:lnTo>
                  <a:lnTo>
                    <a:pt x="508" y="672"/>
                  </a:lnTo>
                  <a:lnTo>
                    <a:pt x="511" y="674"/>
                  </a:lnTo>
                  <a:lnTo>
                    <a:pt x="513" y="675"/>
                  </a:lnTo>
                  <a:lnTo>
                    <a:pt x="522" y="722"/>
                  </a:lnTo>
                  <a:lnTo>
                    <a:pt x="3" y="722"/>
                  </a:lnTo>
                  <a:lnTo>
                    <a:pt x="2" y="716"/>
                  </a:lnTo>
                  <a:lnTo>
                    <a:pt x="2" y="708"/>
                  </a:lnTo>
                  <a:lnTo>
                    <a:pt x="1" y="700"/>
                  </a:lnTo>
                  <a:lnTo>
                    <a:pt x="1" y="690"/>
                  </a:lnTo>
                  <a:lnTo>
                    <a:pt x="0" y="680"/>
                  </a:lnTo>
                  <a:lnTo>
                    <a:pt x="0" y="669"/>
                  </a:lnTo>
                  <a:lnTo>
                    <a:pt x="0" y="658"/>
                  </a:lnTo>
                  <a:lnTo>
                    <a:pt x="0" y="646"/>
                  </a:lnTo>
                  <a:lnTo>
                    <a:pt x="1" y="634"/>
                  </a:lnTo>
                  <a:lnTo>
                    <a:pt x="2" y="621"/>
                  </a:lnTo>
                  <a:lnTo>
                    <a:pt x="3" y="608"/>
                  </a:lnTo>
                  <a:lnTo>
                    <a:pt x="5" y="595"/>
                  </a:lnTo>
                  <a:lnTo>
                    <a:pt x="7" y="583"/>
                  </a:lnTo>
                  <a:lnTo>
                    <a:pt x="10" y="570"/>
                  </a:lnTo>
                  <a:lnTo>
                    <a:pt x="13" y="558"/>
                  </a:lnTo>
                  <a:lnTo>
                    <a:pt x="17" y="546"/>
                  </a:lnTo>
                  <a:lnTo>
                    <a:pt x="22" y="535"/>
                  </a:lnTo>
                  <a:lnTo>
                    <a:pt x="27" y="524"/>
                  </a:lnTo>
                  <a:lnTo>
                    <a:pt x="33" y="515"/>
                  </a:lnTo>
                  <a:lnTo>
                    <a:pt x="40" y="506"/>
                  </a:lnTo>
                  <a:lnTo>
                    <a:pt x="46" y="499"/>
                  </a:lnTo>
                  <a:lnTo>
                    <a:pt x="54" y="493"/>
                  </a:lnTo>
                  <a:lnTo>
                    <a:pt x="61" y="488"/>
                  </a:lnTo>
                  <a:lnTo>
                    <a:pt x="69" y="484"/>
                  </a:lnTo>
                  <a:lnTo>
                    <a:pt x="77" y="481"/>
                  </a:lnTo>
                  <a:lnTo>
                    <a:pt x="86" y="479"/>
                  </a:lnTo>
                  <a:lnTo>
                    <a:pt x="96" y="477"/>
                  </a:lnTo>
                  <a:lnTo>
                    <a:pt x="106" y="477"/>
                  </a:lnTo>
                  <a:lnTo>
                    <a:pt x="166" y="477"/>
                  </a:lnTo>
                  <a:lnTo>
                    <a:pt x="196" y="448"/>
                  </a:lnTo>
                  <a:lnTo>
                    <a:pt x="207" y="455"/>
                  </a:lnTo>
                  <a:lnTo>
                    <a:pt x="218" y="461"/>
                  </a:lnTo>
                  <a:lnTo>
                    <a:pt x="230" y="467"/>
                  </a:lnTo>
                  <a:lnTo>
                    <a:pt x="242" y="471"/>
                  </a:lnTo>
                  <a:lnTo>
                    <a:pt x="254" y="474"/>
                  </a:lnTo>
                  <a:lnTo>
                    <a:pt x="267" y="476"/>
                  </a:lnTo>
                  <a:lnTo>
                    <a:pt x="280" y="477"/>
                  </a:lnTo>
                  <a:lnTo>
                    <a:pt x="294" y="476"/>
                  </a:lnTo>
                  <a:lnTo>
                    <a:pt x="308" y="474"/>
                  </a:lnTo>
                  <a:lnTo>
                    <a:pt x="321" y="470"/>
                  </a:lnTo>
                  <a:lnTo>
                    <a:pt x="334" y="466"/>
                  </a:lnTo>
                  <a:lnTo>
                    <a:pt x="346" y="460"/>
                  </a:lnTo>
                  <a:lnTo>
                    <a:pt x="358" y="452"/>
                  </a:lnTo>
                  <a:lnTo>
                    <a:pt x="369" y="444"/>
                  </a:lnTo>
                  <a:close/>
                  <a:moveTo>
                    <a:pt x="546" y="326"/>
                  </a:moveTo>
                  <a:lnTo>
                    <a:pt x="581" y="326"/>
                  </a:lnTo>
                  <a:lnTo>
                    <a:pt x="594" y="397"/>
                  </a:lnTo>
                  <a:lnTo>
                    <a:pt x="603" y="400"/>
                  </a:lnTo>
                  <a:lnTo>
                    <a:pt x="613" y="404"/>
                  </a:lnTo>
                  <a:lnTo>
                    <a:pt x="622" y="408"/>
                  </a:lnTo>
                  <a:lnTo>
                    <a:pt x="631" y="413"/>
                  </a:lnTo>
                  <a:lnTo>
                    <a:pt x="691" y="371"/>
                  </a:lnTo>
                  <a:lnTo>
                    <a:pt x="716" y="396"/>
                  </a:lnTo>
                  <a:lnTo>
                    <a:pt x="674" y="456"/>
                  </a:lnTo>
                  <a:lnTo>
                    <a:pt x="679" y="464"/>
                  </a:lnTo>
                  <a:lnTo>
                    <a:pt x="683" y="474"/>
                  </a:lnTo>
                  <a:lnTo>
                    <a:pt x="686" y="483"/>
                  </a:lnTo>
                  <a:lnTo>
                    <a:pt x="689" y="493"/>
                  </a:lnTo>
                  <a:lnTo>
                    <a:pt x="762" y="506"/>
                  </a:lnTo>
                  <a:lnTo>
                    <a:pt x="762" y="541"/>
                  </a:lnTo>
                  <a:lnTo>
                    <a:pt x="689" y="554"/>
                  </a:lnTo>
                  <a:lnTo>
                    <a:pt x="686" y="563"/>
                  </a:lnTo>
                  <a:lnTo>
                    <a:pt x="683" y="573"/>
                  </a:lnTo>
                  <a:lnTo>
                    <a:pt x="679" y="582"/>
                  </a:lnTo>
                  <a:lnTo>
                    <a:pt x="674" y="591"/>
                  </a:lnTo>
                  <a:lnTo>
                    <a:pt x="716" y="651"/>
                  </a:lnTo>
                  <a:lnTo>
                    <a:pt x="691" y="676"/>
                  </a:lnTo>
                  <a:lnTo>
                    <a:pt x="631" y="634"/>
                  </a:lnTo>
                  <a:lnTo>
                    <a:pt x="623" y="639"/>
                  </a:lnTo>
                  <a:lnTo>
                    <a:pt x="613" y="643"/>
                  </a:lnTo>
                  <a:lnTo>
                    <a:pt x="604" y="647"/>
                  </a:lnTo>
                  <a:lnTo>
                    <a:pt x="594" y="649"/>
                  </a:lnTo>
                  <a:lnTo>
                    <a:pt x="581" y="722"/>
                  </a:lnTo>
                  <a:lnTo>
                    <a:pt x="546" y="722"/>
                  </a:lnTo>
                  <a:lnTo>
                    <a:pt x="533" y="649"/>
                  </a:lnTo>
                  <a:lnTo>
                    <a:pt x="523" y="647"/>
                  </a:lnTo>
                  <a:lnTo>
                    <a:pt x="514" y="643"/>
                  </a:lnTo>
                  <a:lnTo>
                    <a:pt x="504" y="639"/>
                  </a:lnTo>
                  <a:lnTo>
                    <a:pt x="496" y="634"/>
                  </a:lnTo>
                  <a:lnTo>
                    <a:pt x="435" y="676"/>
                  </a:lnTo>
                  <a:lnTo>
                    <a:pt x="411" y="651"/>
                  </a:lnTo>
                  <a:lnTo>
                    <a:pt x="453" y="591"/>
                  </a:lnTo>
                  <a:lnTo>
                    <a:pt x="448" y="583"/>
                  </a:lnTo>
                  <a:lnTo>
                    <a:pt x="444" y="573"/>
                  </a:lnTo>
                  <a:lnTo>
                    <a:pt x="440" y="564"/>
                  </a:lnTo>
                  <a:lnTo>
                    <a:pt x="437" y="554"/>
                  </a:lnTo>
                  <a:lnTo>
                    <a:pt x="365" y="541"/>
                  </a:lnTo>
                  <a:lnTo>
                    <a:pt x="365" y="506"/>
                  </a:lnTo>
                  <a:lnTo>
                    <a:pt x="437" y="493"/>
                  </a:lnTo>
                  <a:lnTo>
                    <a:pt x="440" y="484"/>
                  </a:lnTo>
                  <a:lnTo>
                    <a:pt x="444" y="474"/>
                  </a:lnTo>
                  <a:lnTo>
                    <a:pt x="448" y="465"/>
                  </a:lnTo>
                  <a:lnTo>
                    <a:pt x="453" y="456"/>
                  </a:lnTo>
                  <a:lnTo>
                    <a:pt x="411" y="396"/>
                  </a:lnTo>
                  <a:lnTo>
                    <a:pt x="435" y="371"/>
                  </a:lnTo>
                  <a:lnTo>
                    <a:pt x="495" y="413"/>
                  </a:lnTo>
                  <a:lnTo>
                    <a:pt x="504" y="408"/>
                  </a:lnTo>
                  <a:lnTo>
                    <a:pt x="513" y="404"/>
                  </a:lnTo>
                  <a:lnTo>
                    <a:pt x="523" y="400"/>
                  </a:lnTo>
                  <a:lnTo>
                    <a:pt x="533" y="398"/>
                  </a:lnTo>
                  <a:lnTo>
                    <a:pt x="546" y="326"/>
                  </a:lnTo>
                  <a:close/>
                  <a:moveTo>
                    <a:pt x="139" y="244"/>
                  </a:moveTo>
                  <a:lnTo>
                    <a:pt x="429" y="244"/>
                  </a:lnTo>
                  <a:lnTo>
                    <a:pt x="433" y="249"/>
                  </a:lnTo>
                  <a:lnTo>
                    <a:pt x="437" y="254"/>
                  </a:lnTo>
                  <a:lnTo>
                    <a:pt x="441" y="260"/>
                  </a:lnTo>
                  <a:lnTo>
                    <a:pt x="443" y="267"/>
                  </a:lnTo>
                  <a:lnTo>
                    <a:pt x="445" y="274"/>
                  </a:lnTo>
                  <a:lnTo>
                    <a:pt x="445" y="281"/>
                  </a:lnTo>
                  <a:lnTo>
                    <a:pt x="444" y="289"/>
                  </a:lnTo>
                  <a:lnTo>
                    <a:pt x="443" y="297"/>
                  </a:lnTo>
                  <a:lnTo>
                    <a:pt x="440" y="304"/>
                  </a:lnTo>
                  <a:lnTo>
                    <a:pt x="436" y="310"/>
                  </a:lnTo>
                  <a:lnTo>
                    <a:pt x="431" y="316"/>
                  </a:lnTo>
                  <a:lnTo>
                    <a:pt x="426" y="320"/>
                  </a:lnTo>
                  <a:lnTo>
                    <a:pt x="419" y="323"/>
                  </a:lnTo>
                  <a:lnTo>
                    <a:pt x="413" y="326"/>
                  </a:lnTo>
                  <a:lnTo>
                    <a:pt x="406" y="326"/>
                  </a:lnTo>
                  <a:lnTo>
                    <a:pt x="405" y="326"/>
                  </a:lnTo>
                  <a:lnTo>
                    <a:pt x="402" y="341"/>
                  </a:lnTo>
                  <a:lnTo>
                    <a:pt x="399" y="354"/>
                  </a:lnTo>
                  <a:lnTo>
                    <a:pt x="394" y="367"/>
                  </a:lnTo>
                  <a:lnTo>
                    <a:pt x="389" y="379"/>
                  </a:lnTo>
                  <a:lnTo>
                    <a:pt x="382" y="391"/>
                  </a:lnTo>
                  <a:lnTo>
                    <a:pt x="374" y="402"/>
                  </a:lnTo>
                  <a:lnTo>
                    <a:pt x="366" y="412"/>
                  </a:lnTo>
                  <a:lnTo>
                    <a:pt x="359" y="419"/>
                  </a:lnTo>
                  <a:lnTo>
                    <a:pt x="352" y="425"/>
                  </a:lnTo>
                  <a:lnTo>
                    <a:pt x="345" y="430"/>
                  </a:lnTo>
                  <a:lnTo>
                    <a:pt x="339" y="434"/>
                  </a:lnTo>
                  <a:lnTo>
                    <a:pt x="332" y="438"/>
                  </a:lnTo>
                  <a:lnTo>
                    <a:pt x="322" y="442"/>
                  </a:lnTo>
                  <a:lnTo>
                    <a:pt x="312" y="446"/>
                  </a:lnTo>
                  <a:lnTo>
                    <a:pt x="302" y="449"/>
                  </a:lnTo>
                  <a:lnTo>
                    <a:pt x="291" y="450"/>
                  </a:lnTo>
                  <a:lnTo>
                    <a:pt x="280" y="451"/>
                  </a:lnTo>
                  <a:lnTo>
                    <a:pt x="270" y="450"/>
                  </a:lnTo>
                  <a:lnTo>
                    <a:pt x="259" y="449"/>
                  </a:lnTo>
                  <a:lnTo>
                    <a:pt x="249" y="446"/>
                  </a:lnTo>
                  <a:lnTo>
                    <a:pt x="239" y="442"/>
                  </a:lnTo>
                  <a:lnTo>
                    <a:pt x="229" y="438"/>
                  </a:lnTo>
                  <a:lnTo>
                    <a:pt x="222" y="434"/>
                  </a:lnTo>
                  <a:lnTo>
                    <a:pt x="216" y="430"/>
                  </a:lnTo>
                  <a:lnTo>
                    <a:pt x="209" y="425"/>
                  </a:lnTo>
                  <a:lnTo>
                    <a:pt x="202" y="419"/>
                  </a:lnTo>
                  <a:lnTo>
                    <a:pt x="195" y="412"/>
                  </a:lnTo>
                  <a:lnTo>
                    <a:pt x="187" y="402"/>
                  </a:lnTo>
                  <a:lnTo>
                    <a:pt x="179" y="391"/>
                  </a:lnTo>
                  <a:lnTo>
                    <a:pt x="172" y="379"/>
                  </a:lnTo>
                  <a:lnTo>
                    <a:pt x="167" y="367"/>
                  </a:lnTo>
                  <a:lnTo>
                    <a:pt x="162" y="354"/>
                  </a:lnTo>
                  <a:lnTo>
                    <a:pt x="159" y="340"/>
                  </a:lnTo>
                  <a:lnTo>
                    <a:pt x="156" y="326"/>
                  </a:lnTo>
                  <a:lnTo>
                    <a:pt x="150" y="324"/>
                  </a:lnTo>
                  <a:lnTo>
                    <a:pt x="144" y="322"/>
                  </a:lnTo>
                  <a:lnTo>
                    <a:pt x="139" y="318"/>
                  </a:lnTo>
                  <a:lnTo>
                    <a:pt x="134" y="314"/>
                  </a:lnTo>
                  <a:lnTo>
                    <a:pt x="130" y="308"/>
                  </a:lnTo>
                  <a:lnTo>
                    <a:pt x="127" y="302"/>
                  </a:lnTo>
                  <a:lnTo>
                    <a:pt x="125" y="296"/>
                  </a:lnTo>
                  <a:lnTo>
                    <a:pt x="123" y="289"/>
                  </a:lnTo>
                  <a:lnTo>
                    <a:pt x="122" y="281"/>
                  </a:lnTo>
                  <a:lnTo>
                    <a:pt x="123" y="274"/>
                  </a:lnTo>
                  <a:lnTo>
                    <a:pt x="125" y="267"/>
                  </a:lnTo>
                  <a:lnTo>
                    <a:pt x="127" y="260"/>
                  </a:lnTo>
                  <a:lnTo>
                    <a:pt x="130" y="254"/>
                  </a:lnTo>
                  <a:lnTo>
                    <a:pt x="134" y="249"/>
                  </a:lnTo>
                  <a:lnTo>
                    <a:pt x="139" y="244"/>
                  </a:lnTo>
                  <a:close/>
                  <a:moveTo>
                    <a:pt x="226" y="51"/>
                  </a:moveTo>
                  <a:lnTo>
                    <a:pt x="226" y="166"/>
                  </a:lnTo>
                  <a:lnTo>
                    <a:pt x="226" y="168"/>
                  </a:lnTo>
                  <a:lnTo>
                    <a:pt x="228" y="175"/>
                  </a:lnTo>
                  <a:lnTo>
                    <a:pt x="230" y="181"/>
                  </a:lnTo>
                  <a:lnTo>
                    <a:pt x="234" y="186"/>
                  </a:lnTo>
                  <a:lnTo>
                    <a:pt x="239" y="190"/>
                  </a:lnTo>
                  <a:lnTo>
                    <a:pt x="245" y="193"/>
                  </a:lnTo>
                  <a:lnTo>
                    <a:pt x="251" y="195"/>
                  </a:lnTo>
                  <a:lnTo>
                    <a:pt x="258" y="196"/>
                  </a:lnTo>
                  <a:lnTo>
                    <a:pt x="311" y="196"/>
                  </a:lnTo>
                  <a:lnTo>
                    <a:pt x="317" y="195"/>
                  </a:lnTo>
                  <a:lnTo>
                    <a:pt x="322" y="193"/>
                  </a:lnTo>
                  <a:lnTo>
                    <a:pt x="328" y="191"/>
                  </a:lnTo>
                  <a:lnTo>
                    <a:pt x="332" y="187"/>
                  </a:lnTo>
                  <a:lnTo>
                    <a:pt x="336" y="183"/>
                  </a:lnTo>
                  <a:lnTo>
                    <a:pt x="339" y="178"/>
                  </a:lnTo>
                  <a:lnTo>
                    <a:pt x="341" y="174"/>
                  </a:lnTo>
                  <a:lnTo>
                    <a:pt x="342" y="169"/>
                  </a:lnTo>
                  <a:lnTo>
                    <a:pt x="343" y="165"/>
                  </a:lnTo>
                  <a:lnTo>
                    <a:pt x="343" y="52"/>
                  </a:lnTo>
                  <a:lnTo>
                    <a:pt x="355" y="59"/>
                  </a:lnTo>
                  <a:lnTo>
                    <a:pt x="368" y="67"/>
                  </a:lnTo>
                  <a:lnTo>
                    <a:pt x="379" y="77"/>
                  </a:lnTo>
                  <a:lnTo>
                    <a:pt x="389" y="87"/>
                  </a:lnTo>
                  <a:lnTo>
                    <a:pt x="399" y="98"/>
                  </a:lnTo>
                  <a:lnTo>
                    <a:pt x="408" y="110"/>
                  </a:lnTo>
                  <a:lnTo>
                    <a:pt x="416" y="122"/>
                  </a:lnTo>
                  <a:lnTo>
                    <a:pt x="423" y="135"/>
                  </a:lnTo>
                  <a:lnTo>
                    <a:pt x="428" y="147"/>
                  </a:lnTo>
                  <a:lnTo>
                    <a:pt x="433" y="160"/>
                  </a:lnTo>
                  <a:lnTo>
                    <a:pt x="436" y="170"/>
                  </a:lnTo>
                  <a:lnTo>
                    <a:pt x="459" y="170"/>
                  </a:lnTo>
                  <a:lnTo>
                    <a:pt x="459" y="222"/>
                  </a:lnTo>
                  <a:lnTo>
                    <a:pt x="108" y="222"/>
                  </a:lnTo>
                  <a:lnTo>
                    <a:pt x="108" y="170"/>
                  </a:lnTo>
                  <a:lnTo>
                    <a:pt x="132" y="170"/>
                  </a:lnTo>
                  <a:lnTo>
                    <a:pt x="135" y="160"/>
                  </a:lnTo>
                  <a:lnTo>
                    <a:pt x="139" y="149"/>
                  </a:lnTo>
                  <a:lnTo>
                    <a:pt x="144" y="137"/>
                  </a:lnTo>
                  <a:lnTo>
                    <a:pt x="150" y="126"/>
                  </a:lnTo>
                  <a:lnTo>
                    <a:pt x="157" y="114"/>
                  </a:lnTo>
                  <a:lnTo>
                    <a:pt x="165" y="103"/>
                  </a:lnTo>
                  <a:lnTo>
                    <a:pt x="173" y="93"/>
                  </a:lnTo>
                  <a:lnTo>
                    <a:pt x="182" y="83"/>
                  </a:lnTo>
                  <a:lnTo>
                    <a:pt x="192" y="74"/>
                  </a:lnTo>
                  <a:lnTo>
                    <a:pt x="203" y="65"/>
                  </a:lnTo>
                  <a:lnTo>
                    <a:pt x="214" y="58"/>
                  </a:lnTo>
                  <a:lnTo>
                    <a:pt x="226" y="51"/>
                  </a:lnTo>
                  <a:close/>
                  <a:moveTo>
                    <a:pt x="258" y="0"/>
                  </a:moveTo>
                  <a:lnTo>
                    <a:pt x="304" y="0"/>
                  </a:lnTo>
                  <a:lnTo>
                    <a:pt x="309" y="0"/>
                  </a:lnTo>
                  <a:lnTo>
                    <a:pt x="314" y="2"/>
                  </a:lnTo>
                  <a:lnTo>
                    <a:pt x="319" y="4"/>
                  </a:lnTo>
                  <a:lnTo>
                    <a:pt x="323" y="8"/>
                  </a:lnTo>
                  <a:lnTo>
                    <a:pt x="326" y="12"/>
                  </a:lnTo>
                  <a:lnTo>
                    <a:pt x="328" y="16"/>
                  </a:lnTo>
                  <a:lnTo>
                    <a:pt x="329" y="21"/>
                  </a:lnTo>
                  <a:lnTo>
                    <a:pt x="330" y="25"/>
                  </a:lnTo>
                  <a:lnTo>
                    <a:pt x="330" y="163"/>
                  </a:lnTo>
                  <a:lnTo>
                    <a:pt x="329" y="166"/>
                  </a:lnTo>
                  <a:lnTo>
                    <a:pt x="329" y="169"/>
                  </a:lnTo>
                  <a:lnTo>
                    <a:pt x="327" y="172"/>
                  </a:lnTo>
                  <a:lnTo>
                    <a:pt x="325" y="175"/>
                  </a:lnTo>
                  <a:lnTo>
                    <a:pt x="322" y="178"/>
                  </a:lnTo>
                  <a:lnTo>
                    <a:pt x="318" y="180"/>
                  </a:lnTo>
                  <a:lnTo>
                    <a:pt x="314" y="182"/>
                  </a:lnTo>
                  <a:lnTo>
                    <a:pt x="310" y="182"/>
                  </a:lnTo>
                  <a:lnTo>
                    <a:pt x="258" y="182"/>
                  </a:lnTo>
                  <a:lnTo>
                    <a:pt x="253" y="181"/>
                  </a:lnTo>
                  <a:lnTo>
                    <a:pt x="249" y="180"/>
                  </a:lnTo>
                  <a:lnTo>
                    <a:pt x="245" y="177"/>
                  </a:lnTo>
                  <a:lnTo>
                    <a:pt x="242" y="174"/>
                  </a:lnTo>
                  <a:lnTo>
                    <a:pt x="240" y="170"/>
                  </a:lnTo>
                  <a:lnTo>
                    <a:pt x="239" y="166"/>
                  </a:lnTo>
                  <a:lnTo>
                    <a:pt x="238" y="163"/>
                  </a:lnTo>
                  <a:lnTo>
                    <a:pt x="238" y="18"/>
                  </a:lnTo>
                  <a:lnTo>
                    <a:pt x="239" y="18"/>
                  </a:lnTo>
                  <a:lnTo>
                    <a:pt x="239" y="17"/>
                  </a:lnTo>
                  <a:lnTo>
                    <a:pt x="240" y="12"/>
                  </a:lnTo>
                  <a:lnTo>
                    <a:pt x="242" y="8"/>
                  </a:lnTo>
                  <a:lnTo>
                    <a:pt x="245" y="5"/>
                  </a:lnTo>
                  <a:lnTo>
                    <a:pt x="249" y="2"/>
                  </a:lnTo>
                  <a:lnTo>
                    <a:pt x="253" y="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ounded Rectangle 17">
              <a:extLst>
                <a:ext uri="{FF2B5EF4-FFF2-40B4-BE49-F238E27FC236}">
                  <a16:creationId xmlns:a16="http://schemas.microsoft.com/office/drawing/2014/main" id="{0E3C2EF7-C99C-049E-DEAE-1422447E9224}"/>
                </a:ext>
              </a:extLst>
            </p:cNvPr>
            <p:cNvSpPr/>
            <p:nvPr/>
          </p:nvSpPr>
          <p:spPr>
            <a:xfrm flipH="1">
              <a:off x="3420997" y="2322760"/>
              <a:ext cx="1700216" cy="36497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91440" tIns="0" rIns="91440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sz="1100" b="1" dirty="0" err="1">
                  <a:solidFill>
                    <a:schemeClr val="bg1"/>
                  </a:solidFill>
                </a:rPr>
                <a:t>Aufwand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r>
                <a:rPr lang="en-US" sz="1100" b="1" dirty="0" err="1">
                  <a:solidFill>
                    <a:schemeClr val="bg1"/>
                  </a:solidFill>
                </a:rPr>
                <a:t>Arbeitsvorb</a:t>
              </a:r>
              <a:r>
                <a:rPr lang="en-US" sz="1100" b="1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17" name="Rounded Rectangle 18">
              <a:extLst>
                <a:ext uri="{FF2B5EF4-FFF2-40B4-BE49-F238E27FC236}">
                  <a16:creationId xmlns:a16="http://schemas.microsoft.com/office/drawing/2014/main" id="{0AC2AB95-7781-1BE7-9A7F-5282E1C0EE8C}"/>
                </a:ext>
              </a:extLst>
            </p:cNvPr>
            <p:cNvSpPr/>
            <p:nvPr/>
          </p:nvSpPr>
          <p:spPr>
            <a:xfrm flipH="1">
              <a:off x="3277425" y="3469720"/>
              <a:ext cx="1700216" cy="364972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91440" tIns="0" rIns="91440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sz="1100" b="1" dirty="0" err="1">
                  <a:solidFill>
                    <a:schemeClr val="bg1"/>
                  </a:solidFill>
                </a:rPr>
                <a:t>Maschinenausfälle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ounded Rectangle 19">
              <a:extLst>
                <a:ext uri="{FF2B5EF4-FFF2-40B4-BE49-F238E27FC236}">
                  <a16:creationId xmlns:a16="http://schemas.microsoft.com/office/drawing/2014/main" id="{185A2F75-0FCF-128A-09DB-A098A72BCB59}"/>
                </a:ext>
              </a:extLst>
            </p:cNvPr>
            <p:cNvSpPr/>
            <p:nvPr/>
          </p:nvSpPr>
          <p:spPr>
            <a:xfrm flipH="1">
              <a:off x="3626737" y="4043199"/>
              <a:ext cx="1700216" cy="36497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91440" tIns="0" rIns="91440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sz="1100" b="1" dirty="0" err="1">
                  <a:solidFill>
                    <a:schemeClr val="bg1"/>
                  </a:solidFill>
                </a:rPr>
                <a:t>Investitionskosten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20">
              <a:extLst>
                <a:ext uri="{FF2B5EF4-FFF2-40B4-BE49-F238E27FC236}">
                  <a16:creationId xmlns:a16="http://schemas.microsoft.com/office/drawing/2014/main" id="{DDA25060-E0B2-BDA8-C275-0271388712A0}"/>
                </a:ext>
              </a:extLst>
            </p:cNvPr>
            <p:cNvSpPr/>
            <p:nvPr/>
          </p:nvSpPr>
          <p:spPr>
            <a:xfrm flipH="1">
              <a:off x="3801997" y="1749280"/>
              <a:ext cx="1700216" cy="36497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91440" tIns="0" rIns="91440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sz="1100" b="1" dirty="0" err="1">
                  <a:solidFill>
                    <a:schemeClr val="bg1"/>
                  </a:solidFill>
                </a:rPr>
                <a:t>Fachkräftemangel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ounded Rectangle 25">
              <a:extLst>
                <a:ext uri="{FF2B5EF4-FFF2-40B4-BE49-F238E27FC236}">
                  <a16:creationId xmlns:a16="http://schemas.microsoft.com/office/drawing/2014/main" id="{E4CE786C-9FFC-89A7-1880-0C717DBFA8BD}"/>
                </a:ext>
              </a:extLst>
            </p:cNvPr>
            <p:cNvSpPr/>
            <p:nvPr/>
          </p:nvSpPr>
          <p:spPr>
            <a:xfrm flipH="1">
              <a:off x="3344797" y="2896240"/>
              <a:ext cx="1700216" cy="36497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91440" tIns="0" rIns="91440" rtlCol="0" anchor="ctr"/>
            <a:lstStyle/>
            <a:p>
              <a:pPr algn="ctr">
                <a:lnSpc>
                  <a:spcPct val="150000"/>
                </a:lnSpc>
              </a:pPr>
              <a:r>
                <a:rPr lang="en-US" sz="1100" b="1" dirty="0" err="1">
                  <a:solidFill>
                    <a:schemeClr val="bg1"/>
                  </a:solidFill>
                </a:rPr>
                <a:t>Reaktionszeit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r>
                <a:rPr lang="en-US" sz="1100" b="1" dirty="0" err="1">
                  <a:solidFill>
                    <a:schemeClr val="bg1"/>
                  </a:solidFill>
                </a:rPr>
                <a:t>Anfrage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1">
              <a:extLst>
                <a:ext uri="{FF2B5EF4-FFF2-40B4-BE49-F238E27FC236}">
                  <a16:creationId xmlns:a16="http://schemas.microsoft.com/office/drawing/2014/main" id="{0A7D7F34-3C34-EEF8-1FDB-0CE8B0EF19B6}"/>
                </a:ext>
              </a:extLst>
            </p:cNvPr>
            <p:cNvSpPr/>
            <p:nvPr/>
          </p:nvSpPr>
          <p:spPr>
            <a:xfrm flipH="1">
              <a:off x="838200" y="1718745"/>
              <a:ext cx="2798315" cy="462383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Programmierer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, </a:t>
              </a:r>
            </a:p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Maschinenbediener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2" name="Rectangle 22">
              <a:extLst>
                <a:ext uri="{FF2B5EF4-FFF2-40B4-BE49-F238E27FC236}">
                  <a16:creationId xmlns:a16="http://schemas.microsoft.com/office/drawing/2014/main" id="{D712E868-1F60-F6F1-4EA4-69C19BEB067E}"/>
                </a:ext>
              </a:extLst>
            </p:cNvPr>
            <p:cNvSpPr/>
            <p:nvPr/>
          </p:nvSpPr>
          <p:spPr>
            <a:xfrm flipH="1">
              <a:off x="662940" y="4017218"/>
              <a:ext cx="2798315" cy="462383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Oft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hohe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Investition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bei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Maschinenneukauf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3" name="Rectangle 23">
              <a:extLst>
                <a:ext uri="{FF2B5EF4-FFF2-40B4-BE49-F238E27FC236}">
                  <a16:creationId xmlns:a16="http://schemas.microsoft.com/office/drawing/2014/main" id="{452600F0-B0EC-6420-067D-A18E1498D195}"/>
                </a:ext>
              </a:extLst>
            </p:cNvPr>
            <p:cNvSpPr/>
            <p:nvPr/>
          </p:nvSpPr>
          <p:spPr>
            <a:xfrm flipH="1">
              <a:off x="457200" y="2293369"/>
              <a:ext cx="2798315" cy="462383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Hoher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Aufwand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in der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Arbeitsvorbereitung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, </a:t>
              </a:r>
            </a:p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insbesondere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bei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kleinen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Losgrößen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4" name="Rectangle 24">
              <a:extLst>
                <a:ext uri="{FF2B5EF4-FFF2-40B4-BE49-F238E27FC236}">
                  <a16:creationId xmlns:a16="http://schemas.microsoft.com/office/drawing/2014/main" id="{28C51D7A-EFC1-40CE-94AF-CCD0D3F9EEAA}"/>
                </a:ext>
              </a:extLst>
            </p:cNvPr>
            <p:cNvSpPr/>
            <p:nvPr/>
          </p:nvSpPr>
          <p:spPr>
            <a:xfrm flipH="1">
              <a:off x="313628" y="3442602"/>
              <a:ext cx="2798315" cy="462383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Leasing-/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Kreditrate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läuft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bei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Maschinenausfall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weiter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oup 3">
              <a:extLst>
                <a:ext uri="{FF2B5EF4-FFF2-40B4-BE49-F238E27FC236}">
                  <a16:creationId xmlns:a16="http://schemas.microsoft.com/office/drawing/2014/main" id="{13C0E413-F790-5794-DE06-658D2DD01CA3}"/>
                </a:ext>
              </a:extLst>
            </p:cNvPr>
            <p:cNvGrpSpPr/>
            <p:nvPr/>
          </p:nvGrpSpPr>
          <p:grpSpPr>
            <a:xfrm>
              <a:off x="4977642" y="1679719"/>
              <a:ext cx="2928199" cy="2545967"/>
              <a:chOff x="5952425" y="1679717"/>
              <a:chExt cx="5719591" cy="2545967"/>
            </a:xfrm>
          </p:grpSpPr>
          <p:cxnSp>
            <p:nvCxnSpPr>
              <p:cNvPr id="26" name="Elbow Connector 15">
                <a:extLst>
                  <a:ext uri="{FF2B5EF4-FFF2-40B4-BE49-F238E27FC236}">
                    <a16:creationId xmlns:a16="http://schemas.microsoft.com/office/drawing/2014/main" id="{8F1248F7-3589-6666-C0CC-DE6430B6FCCB}"/>
                  </a:ext>
                </a:extLst>
              </p:cNvPr>
              <p:cNvCxnSpPr>
                <a:stCxn id="9" idx="0"/>
              </p:cNvCxnSpPr>
              <p:nvPr/>
            </p:nvCxnSpPr>
            <p:spPr>
              <a:xfrm rot="10800000" flipV="1">
                <a:off x="6977063" y="1679717"/>
                <a:ext cx="4694953" cy="252047"/>
              </a:xfrm>
              <a:prstGeom prst="bentConnector3">
                <a:avLst>
                  <a:gd name="adj1" fmla="val 81385"/>
                </a:avLst>
              </a:prstGeom>
              <a:ln w="12700">
                <a:solidFill>
                  <a:schemeClr val="bg1">
                    <a:lumMod val="8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Elbow Connector 16">
                <a:extLst>
                  <a:ext uri="{FF2B5EF4-FFF2-40B4-BE49-F238E27FC236}">
                    <a16:creationId xmlns:a16="http://schemas.microsoft.com/office/drawing/2014/main" id="{9A3D763F-08F8-0D4A-3F90-7CE28977C59E}"/>
                  </a:ext>
                </a:extLst>
              </p:cNvPr>
              <p:cNvCxnSpPr>
                <a:cxnSpLocks/>
                <a:stCxn id="10" idx="1"/>
              </p:cNvCxnSpPr>
              <p:nvPr/>
            </p:nvCxnSpPr>
            <p:spPr>
              <a:xfrm rot="10800000" flipV="1">
                <a:off x="6634731" y="3879614"/>
                <a:ext cx="3417086" cy="346070"/>
              </a:xfrm>
              <a:prstGeom prst="bentConnector3">
                <a:avLst>
                  <a:gd name="adj1" fmla="val 44773"/>
                </a:avLst>
              </a:prstGeom>
              <a:ln w="12700">
                <a:solidFill>
                  <a:schemeClr val="bg1">
                    <a:lumMod val="8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Elbow Connector 27">
                <a:extLst>
                  <a:ext uri="{FF2B5EF4-FFF2-40B4-BE49-F238E27FC236}">
                    <a16:creationId xmlns:a16="http://schemas.microsoft.com/office/drawing/2014/main" id="{D0CCAE13-C0C6-397F-6463-09B322C30DAB}"/>
                  </a:ext>
                </a:extLst>
              </p:cNvPr>
              <p:cNvCxnSpPr>
                <a:stCxn id="7" idx="7"/>
              </p:cNvCxnSpPr>
              <p:nvPr/>
            </p:nvCxnSpPr>
            <p:spPr>
              <a:xfrm rot="10800000" flipV="1">
                <a:off x="6232861" y="1968203"/>
                <a:ext cx="4182081" cy="537042"/>
              </a:xfrm>
              <a:prstGeom prst="bentConnector3">
                <a:avLst>
                  <a:gd name="adj1" fmla="val 46085"/>
                </a:avLst>
              </a:prstGeom>
              <a:ln w="12700">
                <a:solidFill>
                  <a:schemeClr val="bg1">
                    <a:lumMod val="8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Elbow Connector 28">
                <a:extLst>
                  <a:ext uri="{FF2B5EF4-FFF2-40B4-BE49-F238E27FC236}">
                    <a16:creationId xmlns:a16="http://schemas.microsoft.com/office/drawing/2014/main" id="{71C59F99-DF6D-6F7E-A9C6-2316F994E4BB}"/>
                  </a:ext>
                </a:extLst>
              </p:cNvPr>
              <p:cNvCxnSpPr/>
              <p:nvPr/>
            </p:nvCxnSpPr>
            <p:spPr>
              <a:xfrm rot="10800000" flipV="1">
                <a:off x="6084021" y="2713751"/>
                <a:ext cx="3419377" cy="364974"/>
              </a:xfrm>
              <a:prstGeom prst="bentConnector3">
                <a:avLst>
                  <a:gd name="adj1" fmla="val 29106"/>
                </a:avLst>
              </a:prstGeom>
              <a:ln w="12700">
                <a:solidFill>
                  <a:schemeClr val="bg1">
                    <a:lumMod val="8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Elbow Connector 29">
                <a:extLst>
                  <a:ext uri="{FF2B5EF4-FFF2-40B4-BE49-F238E27FC236}">
                    <a16:creationId xmlns:a16="http://schemas.microsoft.com/office/drawing/2014/main" id="{BD555176-9A30-79F5-00F1-2552E9131B1D}"/>
                  </a:ext>
                </a:extLst>
              </p:cNvPr>
              <p:cNvCxnSpPr/>
              <p:nvPr/>
            </p:nvCxnSpPr>
            <p:spPr>
              <a:xfrm rot="10800000" flipV="1">
                <a:off x="5952425" y="3316751"/>
                <a:ext cx="3550973" cy="335453"/>
              </a:xfrm>
              <a:prstGeom prst="bentConnector3">
                <a:avLst>
                  <a:gd name="adj1" fmla="val 27785"/>
                </a:avLst>
              </a:prstGeom>
              <a:ln w="12700">
                <a:solidFill>
                  <a:schemeClr val="bg1">
                    <a:lumMod val="8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Rectangle 26">
              <a:extLst>
                <a:ext uri="{FF2B5EF4-FFF2-40B4-BE49-F238E27FC236}">
                  <a16:creationId xmlns:a16="http://schemas.microsoft.com/office/drawing/2014/main" id="{B15860C3-DAAB-9938-14D5-327C6F1BC799}"/>
                </a:ext>
              </a:extLst>
            </p:cNvPr>
            <p:cNvSpPr/>
            <p:nvPr/>
          </p:nvSpPr>
          <p:spPr>
            <a:xfrm flipH="1">
              <a:off x="381000" y="2867981"/>
              <a:ext cx="2798315" cy="462383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Kunden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erwarten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>
                <a:lnSpc>
                  <a:spcPct val="150000"/>
                </a:lnSpc>
              </a:pP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schnelle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Angebote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33" name="Freeform 66">
            <a:extLst>
              <a:ext uri="{FF2B5EF4-FFF2-40B4-BE49-F238E27FC236}">
                <a16:creationId xmlns:a16="http://schemas.microsoft.com/office/drawing/2014/main" id="{CDBD950D-E488-3114-2429-694D212FC72F}"/>
              </a:ext>
            </a:extLst>
          </p:cNvPr>
          <p:cNvSpPr>
            <a:spLocks noEditPoints="1"/>
          </p:cNvSpPr>
          <p:nvPr/>
        </p:nvSpPr>
        <p:spPr bwMode="auto">
          <a:xfrm>
            <a:off x="10124697" y="2016439"/>
            <a:ext cx="378032" cy="351710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50">
            <a:extLst>
              <a:ext uri="{FF2B5EF4-FFF2-40B4-BE49-F238E27FC236}">
                <a16:creationId xmlns:a16="http://schemas.microsoft.com/office/drawing/2014/main" id="{0F63B00A-B900-31BD-052E-34EEE6B327C1}"/>
              </a:ext>
            </a:extLst>
          </p:cNvPr>
          <p:cNvSpPr>
            <a:spLocks noEditPoints="1"/>
          </p:cNvSpPr>
          <p:nvPr/>
        </p:nvSpPr>
        <p:spPr bwMode="auto">
          <a:xfrm>
            <a:off x="8682279" y="2760515"/>
            <a:ext cx="494930" cy="480544"/>
          </a:xfrm>
          <a:custGeom>
            <a:avLst/>
            <a:gdLst/>
            <a:ahLst/>
            <a:cxnLst>
              <a:cxn ang="0">
                <a:pos x="86" y="58"/>
              </a:cxn>
              <a:cxn ang="0">
                <a:pos x="76" y="55"/>
              </a:cxn>
              <a:cxn ang="0">
                <a:pos x="76" y="54"/>
              </a:cxn>
              <a:cxn ang="0">
                <a:pos x="71" y="47"/>
              </a:cxn>
              <a:cxn ang="0">
                <a:pos x="76" y="68"/>
              </a:cxn>
              <a:cxn ang="0">
                <a:pos x="76" y="59"/>
              </a:cxn>
              <a:cxn ang="0">
                <a:pos x="81" y="59"/>
              </a:cxn>
              <a:cxn ang="0">
                <a:pos x="86" y="68"/>
              </a:cxn>
              <a:cxn ang="0">
                <a:pos x="65" y="59"/>
              </a:cxn>
              <a:cxn ang="0">
                <a:pos x="58" y="47"/>
              </a:cxn>
              <a:cxn ang="0">
                <a:pos x="50" y="63"/>
              </a:cxn>
              <a:cxn ang="0">
                <a:pos x="60" y="68"/>
              </a:cxn>
              <a:cxn ang="0">
                <a:pos x="65" y="63"/>
              </a:cxn>
              <a:cxn ang="0">
                <a:pos x="67" y="59"/>
              </a:cxn>
              <a:cxn ang="0">
                <a:pos x="39" y="64"/>
              </a:cxn>
              <a:cxn ang="0">
                <a:pos x="40" y="46"/>
              </a:cxn>
              <a:cxn ang="0">
                <a:pos x="37" y="54"/>
              </a:cxn>
              <a:cxn ang="0">
                <a:pos x="42" y="54"/>
              </a:cxn>
              <a:cxn ang="0">
                <a:pos x="33" y="68"/>
              </a:cxn>
              <a:cxn ang="0">
                <a:pos x="48" y="64"/>
              </a:cxn>
              <a:cxn ang="0">
                <a:pos x="60" y="89"/>
              </a:cxn>
              <a:cxn ang="0">
                <a:pos x="60" y="27"/>
              </a:cxn>
              <a:cxn ang="0">
                <a:pos x="59" y="54"/>
              </a:cxn>
              <a:cxn ang="0">
                <a:pos x="55" y="59"/>
              </a:cxn>
              <a:cxn ang="0">
                <a:pos x="60" y="54"/>
              </a:cxn>
              <a:cxn ang="0">
                <a:pos x="60" y="52"/>
              </a:cxn>
              <a:cxn ang="0">
                <a:pos x="109" y="28"/>
              </a:cxn>
              <a:cxn ang="0">
                <a:pos x="5" y="40"/>
              </a:cxn>
              <a:cxn ang="0">
                <a:pos x="6" y="46"/>
              </a:cxn>
              <a:cxn ang="0">
                <a:pos x="60" y="12"/>
              </a:cxn>
              <a:cxn ang="0">
                <a:pos x="90" y="33"/>
              </a:cxn>
              <a:cxn ang="0">
                <a:pos x="104" y="50"/>
              </a:cxn>
              <a:cxn ang="0">
                <a:pos x="112" y="55"/>
              </a:cxn>
              <a:cxn ang="0">
                <a:pos x="119" y="28"/>
              </a:cxn>
              <a:cxn ang="0">
                <a:pos x="109" y="28"/>
              </a:cxn>
              <a:cxn ang="0">
                <a:pos x="114" y="76"/>
              </a:cxn>
              <a:cxn ang="0">
                <a:pos x="11" y="89"/>
              </a:cxn>
              <a:cxn ang="0">
                <a:pos x="3" y="90"/>
              </a:cxn>
              <a:cxn ang="0">
                <a:pos x="6" y="66"/>
              </a:cxn>
              <a:cxn ang="0">
                <a:pos x="10" y="60"/>
              </a:cxn>
              <a:cxn ang="0">
                <a:pos x="30" y="79"/>
              </a:cxn>
              <a:cxn ang="0">
                <a:pos x="22" y="85"/>
              </a:cxn>
              <a:cxn ang="0">
                <a:pos x="103" y="72"/>
              </a:cxn>
            </a:cxnLst>
            <a:rect l="0" t="0" r="r" b="b"/>
            <a:pathLst>
              <a:path w="119" h="115">
                <a:moveTo>
                  <a:pt x="86" y="68"/>
                </a:moveTo>
                <a:cubicBezTo>
                  <a:pt x="86" y="58"/>
                  <a:pt x="86" y="58"/>
                  <a:pt x="86" y="58"/>
                </a:cubicBezTo>
                <a:cubicBezTo>
                  <a:pt x="86" y="54"/>
                  <a:pt x="83" y="52"/>
                  <a:pt x="80" y="52"/>
                </a:cubicBezTo>
                <a:cubicBezTo>
                  <a:pt x="78" y="52"/>
                  <a:pt x="77" y="53"/>
                  <a:pt x="76" y="55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4"/>
                  <a:pt x="76" y="54"/>
                </a:cubicBezTo>
                <a:cubicBezTo>
                  <a:pt x="76" y="47"/>
                  <a:pt x="76" y="47"/>
                  <a:pt x="76" y="47"/>
                </a:cubicBezTo>
                <a:cubicBezTo>
                  <a:pt x="71" y="47"/>
                  <a:pt x="71" y="47"/>
                  <a:pt x="71" y="47"/>
                </a:cubicBezTo>
                <a:cubicBezTo>
                  <a:pt x="71" y="68"/>
                  <a:pt x="71" y="68"/>
                  <a:pt x="71" y="68"/>
                </a:cubicBezTo>
                <a:cubicBezTo>
                  <a:pt x="76" y="68"/>
                  <a:pt x="76" y="68"/>
                  <a:pt x="76" y="68"/>
                </a:cubicBezTo>
                <a:cubicBezTo>
                  <a:pt x="76" y="61"/>
                  <a:pt x="76" y="61"/>
                  <a:pt x="76" y="61"/>
                </a:cubicBezTo>
                <a:cubicBezTo>
                  <a:pt x="76" y="61"/>
                  <a:pt x="76" y="60"/>
                  <a:pt x="76" y="59"/>
                </a:cubicBezTo>
                <a:cubicBezTo>
                  <a:pt x="76" y="58"/>
                  <a:pt x="77" y="57"/>
                  <a:pt x="79" y="57"/>
                </a:cubicBezTo>
                <a:cubicBezTo>
                  <a:pt x="80" y="57"/>
                  <a:pt x="81" y="58"/>
                  <a:pt x="81" y="59"/>
                </a:cubicBezTo>
                <a:cubicBezTo>
                  <a:pt x="81" y="68"/>
                  <a:pt x="81" y="68"/>
                  <a:pt x="81" y="68"/>
                </a:cubicBezTo>
                <a:lnTo>
                  <a:pt x="86" y="68"/>
                </a:lnTo>
                <a:close/>
                <a:moveTo>
                  <a:pt x="67" y="59"/>
                </a:moveTo>
                <a:cubicBezTo>
                  <a:pt x="65" y="59"/>
                  <a:pt x="65" y="59"/>
                  <a:pt x="65" y="59"/>
                </a:cubicBezTo>
                <a:cubicBezTo>
                  <a:pt x="65" y="47"/>
                  <a:pt x="65" y="47"/>
                  <a:pt x="65" y="47"/>
                </a:cubicBezTo>
                <a:cubicBezTo>
                  <a:pt x="58" y="47"/>
                  <a:pt x="58" y="47"/>
                  <a:pt x="58" y="47"/>
                </a:cubicBezTo>
                <a:cubicBezTo>
                  <a:pt x="50" y="60"/>
                  <a:pt x="50" y="60"/>
                  <a:pt x="50" y="60"/>
                </a:cubicBezTo>
                <a:cubicBezTo>
                  <a:pt x="50" y="63"/>
                  <a:pt x="50" y="63"/>
                  <a:pt x="50" y="63"/>
                </a:cubicBezTo>
                <a:cubicBezTo>
                  <a:pt x="60" y="63"/>
                  <a:pt x="60" y="63"/>
                  <a:pt x="60" y="63"/>
                </a:cubicBezTo>
                <a:cubicBezTo>
                  <a:pt x="60" y="68"/>
                  <a:pt x="60" y="68"/>
                  <a:pt x="60" y="68"/>
                </a:cubicBezTo>
                <a:cubicBezTo>
                  <a:pt x="65" y="68"/>
                  <a:pt x="65" y="68"/>
                  <a:pt x="65" y="68"/>
                </a:cubicBezTo>
                <a:cubicBezTo>
                  <a:pt x="65" y="63"/>
                  <a:pt x="65" y="63"/>
                  <a:pt x="65" y="63"/>
                </a:cubicBezTo>
                <a:cubicBezTo>
                  <a:pt x="67" y="63"/>
                  <a:pt x="67" y="63"/>
                  <a:pt x="67" y="63"/>
                </a:cubicBezTo>
                <a:lnTo>
                  <a:pt x="67" y="59"/>
                </a:lnTo>
                <a:close/>
                <a:moveTo>
                  <a:pt x="48" y="64"/>
                </a:moveTo>
                <a:cubicBezTo>
                  <a:pt x="39" y="64"/>
                  <a:pt x="39" y="64"/>
                  <a:pt x="39" y="64"/>
                </a:cubicBezTo>
                <a:cubicBezTo>
                  <a:pt x="39" y="61"/>
                  <a:pt x="48" y="60"/>
                  <a:pt x="48" y="53"/>
                </a:cubicBezTo>
                <a:cubicBezTo>
                  <a:pt x="48" y="48"/>
                  <a:pt x="44" y="46"/>
                  <a:pt x="40" y="46"/>
                </a:cubicBezTo>
                <a:cubicBezTo>
                  <a:pt x="35" y="46"/>
                  <a:pt x="33" y="51"/>
                  <a:pt x="33" y="51"/>
                </a:cubicBezTo>
                <a:cubicBezTo>
                  <a:pt x="37" y="54"/>
                  <a:pt x="37" y="54"/>
                  <a:pt x="37" y="54"/>
                </a:cubicBezTo>
                <a:cubicBezTo>
                  <a:pt x="37" y="54"/>
                  <a:pt x="38" y="51"/>
                  <a:pt x="40" y="51"/>
                </a:cubicBezTo>
                <a:cubicBezTo>
                  <a:pt x="41" y="51"/>
                  <a:pt x="42" y="52"/>
                  <a:pt x="42" y="54"/>
                </a:cubicBezTo>
                <a:cubicBezTo>
                  <a:pt x="42" y="57"/>
                  <a:pt x="33" y="58"/>
                  <a:pt x="33" y="66"/>
                </a:cubicBezTo>
                <a:cubicBezTo>
                  <a:pt x="33" y="67"/>
                  <a:pt x="33" y="67"/>
                  <a:pt x="33" y="68"/>
                </a:cubicBezTo>
                <a:cubicBezTo>
                  <a:pt x="48" y="68"/>
                  <a:pt x="48" y="68"/>
                  <a:pt x="48" y="68"/>
                </a:cubicBezTo>
                <a:lnTo>
                  <a:pt x="48" y="64"/>
                </a:lnTo>
                <a:close/>
                <a:moveTo>
                  <a:pt x="90" y="58"/>
                </a:moveTo>
                <a:cubicBezTo>
                  <a:pt x="90" y="75"/>
                  <a:pt x="77" y="89"/>
                  <a:pt x="60" y="89"/>
                </a:cubicBezTo>
                <a:cubicBezTo>
                  <a:pt x="43" y="89"/>
                  <a:pt x="29" y="75"/>
                  <a:pt x="29" y="58"/>
                </a:cubicBezTo>
                <a:cubicBezTo>
                  <a:pt x="29" y="41"/>
                  <a:pt x="43" y="27"/>
                  <a:pt x="60" y="27"/>
                </a:cubicBezTo>
                <a:cubicBezTo>
                  <a:pt x="77" y="27"/>
                  <a:pt x="90" y="41"/>
                  <a:pt x="90" y="58"/>
                </a:cubicBezTo>
                <a:moveTo>
                  <a:pt x="59" y="54"/>
                </a:moveTo>
                <a:cubicBezTo>
                  <a:pt x="55" y="59"/>
                  <a:pt x="55" y="59"/>
                  <a:pt x="55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60" y="59"/>
                  <a:pt x="60" y="59"/>
                  <a:pt x="60" y="59"/>
                </a:cubicBezTo>
                <a:cubicBezTo>
                  <a:pt x="60" y="54"/>
                  <a:pt x="60" y="54"/>
                  <a:pt x="60" y="54"/>
                </a:cubicBezTo>
                <a:cubicBezTo>
                  <a:pt x="60" y="53"/>
                  <a:pt x="60" y="52"/>
                  <a:pt x="6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60" y="52"/>
                  <a:pt x="59" y="53"/>
                  <a:pt x="59" y="54"/>
                </a:cubicBezTo>
                <a:moveTo>
                  <a:pt x="109" y="28"/>
                </a:moveTo>
                <a:cubicBezTo>
                  <a:pt x="98" y="11"/>
                  <a:pt x="80" y="0"/>
                  <a:pt x="60" y="0"/>
                </a:cubicBezTo>
                <a:cubicBezTo>
                  <a:pt x="34" y="0"/>
                  <a:pt x="12" y="17"/>
                  <a:pt x="5" y="40"/>
                </a:cubicBezTo>
                <a:cubicBezTo>
                  <a:pt x="4" y="42"/>
                  <a:pt x="5" y="44"/>
                  <a:pt x="6" y="46"/>
                </a:cubicBezTo>
                <a:cubicBezTo>
                  <a:pt x="6" y="46"/>
                  <a:pt x="6" y="46"/>
                  <a:pt x="6" y="46"/>
                </a:cubicBezTo>
                <a:cubicBezTo>
                  <a:pt x="9" y="49"/>
                  <a:pt x="14" y="48"/>
                  <a:pt x="16" y="44"/>
                </a:cubicBezTo>
                <a:cubicBezTo>
                  <a:pt x="22" y="25"/>
                  <a:pt x="39" y="12"/>
                  <a:pt x="60" y="12"/>
                </a:cubicBezTo>
                <a:cubicBezTo>
                  <a:pt x="75" y="12"/>
                  <a:pt x="89" y="19"/>
                  <a:pt x="97" y="31"/>
                </a:cubicBezTo>
                <a:cubicBezTo>
                  <a:pt x="90" y="33"/>
                  <a:pt x="90" y="33"/>
                  <a:pt x="90" y="33"/>
                </a:cubicBezTo>
                <a:cubicBezTo>
                  <a:pt x="89" y="34"/>
                  <a:pt x="88" y="35"/>
                  <a:pt x="89" y="37"/>
                </a:cubicBezTo>
                <a:cubicBezTo>
                  <a:pt x="104" y="50"/>
                  <a:pt x="104" y="50"/>
                  <a:pt x="104" y="50"/>
                </a:cubicBezTo>
                <a:cubicBezTo>
                  <a:pt x="109" y="56"/>
                  <a:pt x="109" y="56"/>
                  <a:pt x="109" y="56"/>
                </a:cubicBezTo>
                <a:cubicBezTo>
                  <a:pt x="110" y="57"/>
                  <a:pt x="112" y="56"/>
                  <a:pt x="112" y="55"/>
                </a:cubicBezTo>
                <a:cubicBezTo>
                  <a:pt x="113" y="50"/>
                  <a:pt x="113" y="50"/>
                  <a:pt x="113" y="50"/>
                </a:cubicBezTo>
                <a:cubicBezTo>
                  <a:pt x="119" y="28"/>
                  <a:pt x="119" y="28"/>
                  <a:pt x="119" y="28"/>
                </a:cubicBezTo>
                <a:cubicBezTo>
                  <a:pt x="119" y="27"/>
                  <a:pt x="118" y="25"/>
                  <a:pt x="116" y="26"/>
                </a:cubicBezTo>
                <a:lnTo>
                  <a:pt x="109" y="28"/>
                </a:lnTo>
                <a:close/>
                <a:moveTo>
                  <a:pt x="113" y="70"/>
                </a:moveTo>
                <a:cubicBezTo>
                  <a:pt x="114" y="71"/>
                  <a:pt x="115" y="74"/>
                  <a:pt x="114" y="76"/>
                </a:cubicBezTo>
                <a:cubicBezTo>
                  <a:pt x="107" y="99"/>
                  <a:pt x="85" y="115"/>
                  <a:pt x="60" y="115"/>
                </a:cubicBezTo>
                <a:cubicBezTo>
                  <a:pt x="40" y="115"/>
                  <a:pt x="22" y="105"/>
                  <a:pt x="11" y="89"/>
                </a:cubicBezTo>
                <a:cubicBezTo>
                  <a:pt x="11" y="88"/>
                  <a:pt x="10" y="88"/>
                  <a:pt x="9" y="88"/>
                </a:cubicBezTo>
                <a:cubicBezTo>
                  <a:pt x="3" y="90"/>
                  <a:pt x="3" y="90"/>
                  <a:pt x="3" y="90"/>
                </a:cubicBezTo>
                <a:cubicBezTo>
                  <a:pt x="1" y="90"/>
                  <a:pt x="0" y="89"/>
                  <a:pt x="0" y="88"/>
                </a:cubicBezTo>
                <a:cubicBezTo>
                  <a:pt x="6" y="66"/>
                  <a:pt x="6" y="66"/>
                  <a:pt x="6" y="66"/>
                </a:cubicBezTo>
                <a:cubicBezTo>
                  <a:pt x="7" y="61"/>
                  <a:pt x="7" y="61"/>
                  <a:pt x="7" y="61"/>
                </a:cubicBezTo>
                <a:cubicBezTo>
                  <a:pt x="7" y="60"/>
                  <a:pt x="9" y="59"/>
                  <a:pt x="10" y="60"/>
                </a:cubicBezTo>
                <a:cubicBezTo>
                  <a:pt x="16" y="66"/>
                  <a:pt x="16" y="66"/>
                  <a:pt x="16" y="66"/>
                </a:cubicBezTo>
                <a:cubicBezTo>
                  <a:pt x="30" y="79"/>
                  <a:pt x="30" y="79"/>
                  <a:pt x="30" y="79"/>
                </a:cubicBezTo>
                <a:cubicBezTo>
                  <a:pt x="31" y="80"/>
                  <a:pt x="30" y="82"/>
                  <a:pt x="29" y="83"/>
                </a:cubicBezTo>
                <a:cubicBezTo>
                  <a:pt x="22" y="85"/>
                  <a:pt x="22" y="85"/>
                  <a:pt x="22" y="85"/>
                </a:cubicBezTo>
                <a:cubicBezTo>
                  <a:pt x="31" y="97"/>
                  <a:pt x="44" y="104"/>
                  <a:pt x="60" y="104"/>
                </a:cubicBezTo>
                <a:cubicBezTo>
                  <a:pt x="80" y="104"/>
                  <a:pt x="97" y="91"/>
                  <a:pt x="103" y="72"/>
                </a:cubicBezTo>
                <a:cubicBezTo>
                  <a:pt x="105" y="68"/>
                  <a:pt x="110" y="67"/>
                  <a:pt x="113" y="7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oup 27">
            <a:extLst>
              <a:ext uri="{FF2B5EF4-FFF2-40B4-BE49-F238E27FC236}">
                <a16:creationId xmlns:a16="http://schemas.microsoft.com/office/drawing/2014/main" id="{01D66317-CD6B-4394-C632-DFFE5B6D3D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50260" y="4395758"/>
            <a:ext cx="321378" cy="332420"/>
            <a:chOff x="4322" y="834"/>
            <a:chExt cx="291" cy="301"/>
          </a:xfrm>
          <a:solidFill>
            <a:schemeClr val="bg1"/>
          </a:solidFill>
        </p:grpSpPr>
        <p:sp>
          <p:nvSpPr>
            <p:cNvPr id="49" name="Freeform 29">
              <a:extLst>
                <a:ext uri="{FF2B5EF4-FFF2-40B4-BE49-F238E27FC236}">
                  <a16:creationId xmlns:a16="http://schemas.microsoft.com/office/drawing/2014/main" id="{8B0204B7-9A7D-AB94-D7A8-3CABFC8F7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2" y="834"/>
              <a:ext cx="144" cy="145"/>
            </a:xfrm>
            <a:custGeom>
              <a:avLst/>
              <a:gdLst>
                <a:gd name="T0" fmla="*/ 502 w 1580"/>
                <a:gd name="T1" fmla="*/ 326 h 1592"/>
                <a:gd name="T2" fmla="*/ 458 w 1580"/>
                <a:gd name="T3" fmla="*/ 345 h 1592"/>
                <a:gd name="T4" fmla="*/ 426 w 1580"/>
                <a:gd name="T5" fmla="*/ 382 h 1592"/>
                <a:gd name="T6" fmla="*/ 421 w 1580"/>
                <a:gd name="T7" fmla="*/ 439 h 1592"/>
                <a:gd name="T8" fmla="*/ 612 w 1580"/>
                <a:gd name="T9" fmla="*/ 764 h 1592"/>
                <a:gd name="T10" fmla="*/ 500 w 1580"/>
                <a:gd name="T11" fmla="*/ 773 h 1592"/>
                <a:gd name="T12" fmla="*/ 479 w 1580"/>
                <a:gd name="T13" fmla="*/ 816 h 1592"/>
                <a:gd name="T14" fmla="*/ 500 w 1580"/>
                <a:gd name="T15" fmla="*/ 857 h 1592"/>
                <a:gd name="T16" fmla="*/ 672 w 1580"/>
                <a:gd name="T17" fmla="*/ 867 h 1592"/>
                <a:gd name="T18" fmla="*/ 531 w 1580"/>
                <a:gd name="T19" fmla="*/ 945 h 1592"/>
                <a:gd name="T20" fmla="*/ 489 w 1580"/>
                <a:gd name="T21" fmla="*/ 965 h 1592"/>
                <a:gd name="T22" fmla="*/ 481 w 1580"/>
                <a:gd name="T23" fmla="*/ 1013 h 1592"/>
                <a:gd name="T24" fmla="*/ 514 w 1580"/>
                <a:gd name="T25" fmla="*/ 1046 h 1592"/>
                <a:gd name="T26" fmla="*/ 694 w 1580"/>
                <a:gd name="T27" fmla="*/ 1180 h 1592"/>
                <a:gd name="T28" fmla="*/ 710 w 1580"/>
                <a:gd name="T29" fmla="*/ 1241 h 1592"/>
                <a:gd name="T30" fmla="*/ 755 w 1580"/>
                <a:gd name="T31" fmla="*/ 1279 h 1592"/>
                <a:gd name="T32" fmla="*/ 822 w 1580"/>
                <a:gd name="T33" fmla="*/ 1284 h 1592"/>
                <a:gd name="T34" fmla="*/ 876 w 1580"/>
                <a:gd name="T35" fmla="*/ 1257 h 1592"/>
                <a:gd name="T36" fmla="*/ 901 w 1580"/>
                <a:gd name="T37" fmla="*/ 1203 h 1592"/>
                <a:gd name="T38" fmla="*/ 1067 w 1580"/>
                <a:gd name="T39" fmla="*/ 1049 h 1592"/>
                <a:gd name="T40" fmla="*/ 1109 w 1580"/>
                <a:gd name="T41" fmla="*/ 1027 h 1592"/>
                <a:gd name="T42" fmla="*/ 1116 w 1580"/>
                <a:gd name="T43" fmla="*/ 980 h 1592"/>
                <a:gd name="T44" fmla="*/ 1084 w 1580"/>
                <a:gd name="T45" fmla="*/ 947 h 1592"/>
                <a:gd name="T46" fmla="*/ 903 w 1580"/>
                <a:gd name="T47" fmla="*/ 906 h 1592"/>
                <a:gd name="T48" fmla="*/ 1084 w 1580"/>
                <a:gd name="T49" fmla="*/ 865 h 1592"/>
                <a:gd name="T50" fmla="*/ 1116 w 1580"/>
                <a:gd name="T51" fmla="*/ 832 h 1592"/>
                <a:gd name="T52" fmla="*/ 1109 w 1580"/>
                <a:gd name="T53" fmla="*/ 785 h 1592"/>
                <a:gd name="T54" fmla="*/ 1067 w 1580"/>
                <a:gd name="T55" fmla="*/ 764 h 1592"/>
                <a:gd name="T56" fmla="*/ 1170 w 1580"/>
                <a:gd name="T57" fmla="*/ 458 h 1592"/>
                <a:gd name="T58" fmla="*/ 1178 w 1580"/>
                <a:gd name="T59" fmla="*/ 400 h 1592"/>
                <a:gd name="T60" fmla="*/ 1153 w 1580"/>
                <a:gd name="T61" fmla="*/ 355 h 1592"/>
                <a:gd name="T62" fmla="*/ 1111 w 1580"/>
                <a:gd name="T63" fmla="*/ 330 h 1592"/>
                <a:gd name="T64" fmla="*/ 1066 w 1580"/>
                <a:gd name="T65" fmla="*/ 324 h 1592"/>
                <a:gd name="T66" fmla="*/ 1016 w 1580"/>
                <a:gd name="T67" fmla="*/ 338 h 1592"/>
                <a:gd name="T68" fmla="*/ 986 w 1580"/>
                <a:gd name="T69" fmla="*/ 367 h 1592"/>
                <a:gd name="T70" fmla="*/ 799 w 1580"/>
                <a:gd name="T71" fmla="*/ 725 h 1592"/>
                <a:gd name="T72" fmla="*/ 612 w 1580"/>
                <a:gd name="T73" fmla="*/ 367 h 1592"/>
                <a:gd name="T74" fmla="*/ 583 w 1580"/>
                <a:gd name="T75" fmla="*/ 338 h 1592"/>
                <a:gd name="T76" fmla="*/ 532 w 1580"/>
                <a:gd name="T77" fmla="*/ 324 h 1592"/>
                <a:gd name="T78" fmla="*/ 870 w 1580"/>
                <a:gd name="T79" fmla="*/ 3 h 1592"/>
                <a:gd name="T80" fmla="*/ 1070 w 1580"/>
                <a:gd name="T81" fmla="*/ 48 h 1592"/>
                <a:gd name="T82" fmla="*/ 1249 w 1580"/>
                <a:gd name="T83" fmla="*/ 141 h 1592"/>
                <a:gd name="T84" fmla="*/ 1398 w 1580"/>
                <a:gd name="T85" fmla="*/ 274 h 1592"/>
                <a:gd name="T86" fmla="*/ 1511 w 1580"/>
                <a:gd name="T87" fmla="*/ 439 h 1592"/>
                <a:gd name="T88" fmla="*/ 1580 w 1580"/>
                <a:gd name="T89" fmla="*/ 632 h 1592"/>
                <a:gd name="T90" fmla="*/ 1474 w 1580"/>
                <a:gd name="T91" fmla="*/ 824 h 1592"/>
                <a:gd name="T92" fmla="*/ 1413 w 1580"/>
                <a:gd name="T93" fmla="*/ 1038 h 1592"/>
                <a:gd name="T94" fmla="*/ 1236 w 1580"/>
                <a:gd name="T95" fmla="*/ 1155 h 1592"/>
                <a:gd name="T96" fmla="*/ 1003 w 1580"/>
                <a:gd name="T97" fmla="*/ 1257 h 1592"/>
                <a:gd name="T98" fmla="*/ 801 w 1580"/>
                <a:gd name="T99" fmla="*/ 1404 h 1592"/>
                <a:gd name="T100" fmla="*/ 632 w 1580"/>
                <a:gd name="T101" fmla="*/ 1592 h 1592"/>
                <a:gd name="T102" fmla="*/ 440 w 1580"/>
                <a:gd name="T103" fmla="*/ 1523 h 1592"/>
                <a:gd name="T104" fmla="*/ 274 w 1580"/>
                <a:gd name="T105" fmla="*/ 1411 h 1592"/>
                <a:gd name="T106" fmla="*/ 141 w 1580"/>
                <a:gd name="T107" fmla="*/ 1260 h 1592"/>
                <a:gd name="T108" fmla="*/ 48 w 1580"/>
                <a:gd name="T109" fmla="*/ 1080 h 1592"/>
                <a:gd name="T110" fmla="*/ 3 w 1580"/>
                <a:gd name="T111" fmla="*/ 876 h 1592"/>
                <a:gd name="T112" fmla="*/ 12 w 1580"/>
                <a:gd name="T113" fmla="*/ 661 h 1592"/>
                <a:gd name="T114" fmla="*/ 76 w 1580"/>
                <a:gd name="T115" fmla="*/ 460 h 1592"/>
                <a:gd name="T116" fmla="*/ 188 w 1580"/>
                <a:gd name="T117" fmla="*/ 286 h 1592"/>
                <a:gd name="T118" fmla="*/ 338 w 1580"/>
                <a:gd name="T119" fmla="*/ 148 h 1592"/>
                <a:gd name="T120" fmla="*/ 521 w 1580"/>
                <a:gd name="T121" fmla="*/ 50 h 1592"/>
                <a:gd name="T122" fmla="*/ 726 w 1580"/>
                <a:gd name="T123" fmla="*/ 3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0" h="1592">
                  <a:moveTo>
                    <a:pt x="532" y="324"/>
                  </a:moveTo>
                  <a:lnTo>
                    <a:pt x="518" y="324"/>
                  </a:lnTo>
                  <a:lnTo>
                    <a:pt x="502" y="326"/>
                  </a:lnTo>
                  <a:lnTo>
                    <a:pt x="487" y="330"/>
                  </a:lnTo>
                  <a:lnTo>
                    <a:pt x="472" y="336"/>
                  </a:lnTo>
                  <a:lnTo>
                    <a:pt x="458" y="345"/>
                  </a:lnTo>
                  <a:lnTo>
                    <a:pt x="445" y="355"/>
                  </a:lnTo>
                  <a:lnTo>
                    <a:pt x="434" y="367"/>
                  </a:lnTo>
                  <a:lnTo>
                    <a:pt x="426" y="382"/>
                  </a:lnTo>
                  <a:lnTo>
                    <a:pt x="421" y="400"/>
                  </a:lnTo>
                  <a:lnTo>
                    <a:pt x="418" y="421"/>
                  </a:lnTo>
                  <a:lnTo>
                    <a:pt x="421" y="439"/>
                  </a:lnTo>
                  <a:lnTo>
                    <a:pt x="428" y="458"/>
                  </a:lnTo>
                  <a:lnTo>
                    <a:pt x="437" y="475"/>
                  </a:lnTo>
                  <a:lnTo>
                    <a:pt x="612" y="764"/>
                  </a:lnTo>
                  <a:lnTo>
                    <a:pt x="531" y="764"/>
                  </a:lnTo>
                  <a:lnTo>
                    <a:pt x="514" y="766"/>
                  </a:lnTo>
                  <a:lnTo>
                    <a:pt x="500" y="773"/>
                  </a:lnTo>
                  <a:lnTo>
                    <a:pt x="489" y="785"/>
                  </a:lnTo>
                  <a:lnTo>
                    <a:pt x="481" y="799"/>
                  </a:lnTo>
                  <a:lnTo>
                    <a:pt x="479" y="816"/>
                  </a:lnTo>
                  <a:lnTo>
                    <a:pt x="481" y="832"/>
                  </a:lnTo>
                  <a:lnTo>
                    <a:pt x="489" y="846"/>
                  </a:lnTo>
                  <a:lnTo>
                    <a:pt x="500" y="857"/>
                  </a:lnTo>
                  <a:lnTo>
                    <a:pt x="514" y="865"/>
                  </a:lnTo>
                  <a:lnTo>
                    <a:pt x="531" y="867"/>
                  </a:lnTo>
                  <a:lnTo>
                    <a:pt x="672" y="867"/>
                  </a:lnTo>
                  <a:lnTo>
                    <a:pt x="694" y="906"/>
                  </a:lnTo>
                  <a:lnTo>
                    <a:pt x="694" y="945"/>
                  </a:lnTo>
                  <a:lnTo>
                    <a:pt x="531" y="945"/>
                  </a:lnTo>
                  <a:lnTo>
                    <a:pt x="514" y="947"/>
                  </a:lnTo>
                  <a:lnTo>
                    <a:pt x="500" y="954"/>
                  </a:lnTo>
                  <a:lnTo>
                    <a:pt x="489" y="965"/>
                  </a:lnTo>
                  <a:lnTo>
                    <a:pt x="481" y="980"/>
                  </a:lnTo>
                  <a:lnTo>
                    <a:pt x="479" y="997"/>
                  </a:lnTo>
                  <a:lnTo>
                    <a:pt x="481" y="1013"/>
                  </a:lnTo>
                  <a:lnTo>
                    <a:pt x="489" y="1027"/>
                  </a:lnTo>
                  <a:lnTo>
                    <a:pt x="500" y="1038"/>
                  </a:lnTo>
                  <a:lnTo>
                    <a:pt x="514" y="1046"/>
                  </a:lnTo>
                  <a:lnTo>
                    <a:pt x="531" y="1049"/>
                  </a:lnTo>
                  <a:lnTo>
                    <a:pt x="694" y="1049"/>
                  </a:lnTo>
                  <a:lnTo>
                    <a:pt x="694" y="1180"/>
                  </a:lnTo>
                  <a:lnTo>
                    <a:pt x="696" y="1203"/>
                  </a:lnTo>
                  <a:lnTo>
                    <a:pt x="702" y="1223"/>
                  </a:lnTo>
                  <a:lnTo>
                    <a:pt x="710" y="1241"/>
                  </a:lnTo>
                  <a:lnTo>
                    <a:pt x="722" y="1257"/>
                  </a:lnTo>
                  <a:lnTo>
                    <a:pt x="737" y="1269"/>
                  </a:lnTo>
                  <a:lnTo>
                    <a:pt x="755" y="1279"/>
                  </a:lnTo>
                  <a:lnTo>
                    <a:pt x="776" y="1284"/>
                  </a:lnTo>
                  <a:lnTo>
                    <a:pt x="799" y="1286"/>
                  </a:lnTo>
                  <a:lnTo>
                    <a:pt x="822" y="1284"/>
                  </a:lnTo>
                  <a:lnTo>
                    <a:pt x="843" y="1279"/>
                  </a:lnTo>
                  <a:lnTo>
                    <a:pt x="861" y="1269"/>
                  </a:lnTo>
                  <a:lnTo>
                    <a:pt x="876" y="1257"/>
                  </a:lnTo>
                  <a:lnTo>
                    <a:pt x="888" y="1241"/>
                  </a:lnTo>
                  <a:lnTo>
                    <a:pt x="896" y="1223"/>
                  </a:lnTo>
                  <a:lnTo>
                    <a:pt x="901" y="1203"/>
                  </a:lnTo>
                  <a:lnTo>
                    <a:pt x="903" y="1180"/>
                  </a:lnTo>
                  <a:lnTo>
                    <a:pt x="903" y="1049"/>
                  </a:lnTo>
                  <a:lnTo>
                    <a:pt x="1067" y="1049"/>
                  </a:lnTo>
                  <a:lnTo>
                    <a:pt x="1084" y="1046"/>
                  </a:lnTo>
                  <a:lnTo>
                    <a:pt x="1098" y="1038"/>
                  </a:lnTo>
                  <a:lnTo>
                    <a:pt x="1109" y="1027"/>
                  </a:lnTo>
                  <a:lnTo>
                    <a:pt x="1116" y="1013"/>
                  </a:lnTo>
                  <a:lnTo>
                    <a:pt x="1119" y="997"/>
                  </a:lnTo>
                  <a:lnTo>
                    <a:pt x="1116" y="980"/>
                  </a:lnTo>
                  <a:lnTo>
                    <a:pt x="1109" y="965"/>
                  </a:lnTo>
                  <a:lnTo>
                    <a:pt x="1098" y="954"/>
                  </a:lnTo>
                  <a:lnTo>
                    <a:pt x="1084" y="947"/>
                  </a:lnTo>
                  <a:lnTo>
                    <a:pt x="1067" y="945"/>
                  </a:lnTo>
                  <a:lnTo>
                    <a:pt x="903" y="945"/>
                  </a:lnTo>
                  <a:lnTo>
                    <a:pt x="903" y="906"/>
                  </a:lnTo>
                  <a:lnTo>
                    <a:pt x="926" y="867"/>
                  </a:lnTo>
                  <a:lnTo>
                    <a:pt x="1067" y="867"/>
                  </a:lnTo>
                  <a:lnTo>
                    <a:pt x="1084" y="865"/>
                  </a:lnTo>
                  <a:lnTo>
                    <a:pt x="1097" y="857"/>
                  </a:lnTo>
                  <a:lnTo>
                    <a:pt x="1109" y="846"/>
                  </a:lnTo>
                  <a:lnTo>
                    <a:pt x="1116" y="832"/>
                  </a:lnTo>
                  <a:lnTo>
                    <a:pt x="1118" y="816"/>
                  </a:lnTo>
                  <a:lnTo>
                    <a:pt x="1116" y="799"/>
                  </a:lnTo>
                  <a:lnTo>
                    <a:pt x="1109" y="785"/>
                  </a:lnTo>
                  <a:lnTo>
                    <a:pt x="1097" y="773"/>
                  </a:lnTo>
                  <a:lnTo>
                    <a:pt x="1084" y="766"/>
                  </a:lnTo>
                  <a:lnTo>
                    <a:pt x="1067" y="764"/>
                  </a:lnTo>
                  <a:lnTo>
                    <a:pt x="987" y="764"/>
                  </a:lnTo>
                  <a:lnTo>
                    <a:pt x="1161" y="475"/>
                  </a:lnTo>
                  <a:lnTo>
                    <a:pt x="1170" y="458"/>
                  </a:lnTo>
                  <a:lnTo>
                    <a:pt x="1177" y="439"/>
                  </a:lnTo>
                  <a:lnTo>
                    <a:pt x="1180" y="421"/>
                  </a:lnTo>
                  <a:lnTo>
                    <a:pt x="1178" y="400"/>
                  </a:lnTo>
                  <a:lnTo>
                    <a:pt x="1172" y="382"/>
                  </a:lnTo>
                  <a:lnTo>
                    <a:pt x="1163" y="367"/>
                  </a:lnTo>
                  <a:lnTo>
                    <a:pt x="1153" y="355"/>
                  </a:lnTo>
                  <a:lnTo>
                    <a:pt x="1140" y="345"/>
                  </a:lnTo>
                  <a:lnTo>
                    <a:pt x="1126" y="336"/>
                  </a:lnTo>
                  <a:lnTo>
                    <a:pt x="1111" y="330"/>
                  </a:lnTo>
                  <a:lnTo>
                    <a:pt x="1095" y="326"/>
                  </a:lnTo>
                  <a:lnTo>
                    <a:pt x="1080" y="324"/>
                  </a:lnTo>
                  <a:lnTo>
                    <a:pt x="1066" y="324"/>
                  </a:lnTo>
                  <a:lnTo>
                    <a:pt x="1047" y="325"/>
                  </a:lnTo>
                  <a:lnTo>
                    <a:pt x="1030" y="330"/>
                  </a:lnTo>
                  <a:lnTo>
                    <a:pt x="1016" y="338"/>
                  </a:lnTo>
                  <a:lnTo>
                    <a:pt x="1003" y="348"/>
                  </a:lnTo>
                  <a:lnTo>
                    <a:pt x="994" y="358"/>
                  </a:lnTo>
                  <a:lnTo>
                    <a:pt x="986" y="367"/>
                  </a:lnTo>
                  <a:lnTo>
                    <a:pt x="981" y="378"/>
                  </a:lnTo>
                  <a:lnTo>
                    <a:pt x="976" y="385"/>
                  </a:lnTo>
                  <a:lnTo>
                    <a:pt x="799" y="725"/>
                  </a:lnTo>
                  <a:lnTo>
                    <a:pt x="622" y="385"/>
                  </a:lnTo>
                  <a:lnTo>
                    <a:pt x="618" y="378"/>
                  </a:lnTo>
                  <a:lnTo>
                    <a:pt x="612" y="367"/>
                  </a:lnTo>
                  <a:lnTo>
                    <a:pt x="604" y="358"/>
                  </a:lnTo>
                  <a:lnTo>
                    <a:pt x="594" y="348"/>
                  </a:lnTo>
                  <a:lnTo>
                    <a:pt x="583" y="338"/>
                  </a:lnTo>
                  <a:lnTo>
                    <a:pt x="568" y="330"/>
                  </a:lnTo>
                  <a:lnTo>
                    <a:pt x="552" y="325"/>
                  </a:lnTo>
                  <a:lnTo>
                    <a:pt x="532" y="324"/>
                  </a:lnTo>
                  <a:close/>
                  <a:moveTo>
                    <a:pt x="799" y="0"/>
                  </a:moveTo>
                  <a:lnTo>
                    <a:pt x="799" y="0"/>
                  </a:lnTo>
                  <a:lnTo>
                    <a:pt x="870" y="3"/>
                  </a:lnTo>
                  <a:lnTo>
                    <a:pt x="938" y="13"/>
                  </a:lnTo>
                  <a:lnTo>
                    <a:pt x="1005" y="27"/>
                  </a:lnTo>
                  <a:lnTo>
                    <a:pt x="1070" y="48"/>
                  </a:lnTo>
                  <a:lnTo>
                    <a:pt x="1133" y="74"/>
                  </a:lnTo>
                  <a:lnTo>
                    <a:pt x="1192" y="105"/>
                  </a:lnTo>
                  <a:lnTo>
                    <a:pt x="1249" y="141"/>
                  </a:lnTo>
                  <a:lnTo>
                    <a:pt x="1303" y="180"/>
                  </a:lnTo>
                  <a:lnTo>
                    <a:pt x="1352" y="225"/>
                  </a:lnTo>
                  <a:lnTo>
                    <a:pt x="1398" y="274"/>
                  </a:lnTo>
                  <a:lnTo>
                    <a:pt x="1440" y="326"/>
                  </a:lnTo>
                  <a:lnTo>
                    <a:pt x="1478" y="381"/>
                  </a:lnTo>
                  <a:lnTo>
                    <a:pt x="1511" y="439"/>
                  </a:lnTo>
                  <a:lnTo>
                    <a:pt x="1538" y="502"/>
                  </a:lnTo>
                  <a:lnTo>
                    <a:pt x="1562" y="565"/>
                  </a:lnTo>
                  <a:lnTo>
                    <a:pt x="1580" y="632"/>
                  </a:lnTo>
                  <a:lnTo>
                    <a:pt x="1540" y="693"/>
                  </a:lnTo>
                  <a:lnTo>
                    <a:pt x="1505" y="757"/>
                  </a:lnTo>
                  <a:lnTo>
                    <a:pt x="1474" y="824"/>
                  </a:lnTo>
                  <a:lnTo>
                    <a:pt x="1449" y="894"/>
                  </a:lnTo>
                  <a:lnTo>
                    <a:pt x="1428" y="964"/>
                  </a:lnTo>
                  <a:lnTo>
                    <a:pt x="1413" y="1038"/>
                  </a:lnTo>
                  <a:lnTo>
                    <a:pt x="1403" y="1114"/>
                  </a:lnTo>
                  <a:lnTo>
                    <a:pt x="1318" y="1131"/>
                  </a:lnTo>
                  <a:lnTo>
                    <a:pt x="1236" y="1155"/>
                  </a:lnTo>
                  <a:lnTo>
                    <a:pt x="1155" y="1183"/>
                  </a:lnTo>
                  <a:lnTo>
                    <a:pt x="1078" y="1217"/>
                  </a:lnTo>
                  <a:lnTo>
                    <a:pt x="1003" y="1257"/>
                  </a:lnTo>
                  <a:lnTo>
                    <a:pt x="932" y="1301"/>
                  </a:lnTo>
                  <a:lnTo>
                    <a:pt x="865" y="1351"/>
                  </a:lnTo>
                  <a:lnTo>
                    <a:pt x="801" y="1404"/>
                  </a:lnTo>
                  <a:lnTo>
                    <a:pt x="740" y="1463"/>
                  </a:lnTo>
                  <a:lnTo>
                    <a:pt x="684" y="1525"/>
                  </a:lnTo>
                  <a:lnTo>
                    <a:pt x="632" y="1592"/>
                  </a:lnTo>
                  <a:lnTo>
                    <a:pt x="566" y="1574"/>
                  </a:lnTo>
                  <a:lnTo>
                    <a:pt x="501" y="1551"/>
                  </a:lnTo>
                  <a:lnTo>
                    <a:pt x="440" y="1523"/>
                  </a:lnTo>
                  <a:lnTo>
                    <a:pt x="381" y="1491"/>
                  </a:lnTo>
                  <a:lnTo>
                    <a:pt x="325" y="1452"/>
                  </a:lnTo>
                  <a:lnTo>
                    <a:pt x="274" y="1411"/>
                  </a:lnTo>
                  <a:lnTo>
                    <a:pt x="225" y="1364"/>
                  </a:lnTo>
                  <a:lnTo>
                    <a:pt x="181" y="1314"/>
                  </a:lnTo>
                  <a:lnTo>
                    <a:pt x="141" y="1260"/>
                  </a:lnTo>
                  <a:lnTo>
                    <a:pt x="104" y="1203"/>
                  </a:lnTo>
                  <a:lnTo>
                    <a:pt x="73" y="1143"/>
                  </a:lnTo>
                  <a:lnTo>
                    <a:pt x="48" y="1080"/>
                  </a:lnTo>
                  <a:lnTo>
                    <a:pt x="27" y="1014"/>
                  </a:lnTo>
                  <a:lnTo>
                    <a:pt x="12" y="947"/>
                  </a:lnTo>
                  <a:lnTo>
                    <a:pt x="3" y="876"/>
                  </a:lnTo>
                  <a:lnTo>
                    <a:pt x="0" y="805"/>
                  </a:lnTo>
                  <a:lnTo>
                    <a:pt x="3" y="731"/>
                  </a:lnTo>
                  <a:lnTo>
                    <a:pt x="12" y="661"/>
                  </a:lnTo>
                  <a:lnTo>
                    <a:pt x="28" y="591"/>
                  </a:lnTo>
                  <a:lnTo>
                    <a:pt x="50" y="525"/>
                  </a:lnTo>
                  <a:lnTo>
                    <a:pt x="76" y="460"/>
                  </a:lnTo>
                  <a:lnTo>
                    <a:pt x="108" y="399"/>
                  </a:lnTo>
                  <a:lnTo>
                    <a:pt x="146" y="341"/>
                  </a:lnTo>
                  <a:lnTo>
                    <a:pt x="188" y="286"/>
                  </a:lnTo>
                  <a:lnTo>
                    <a:pt x="234" y="236"/>
                  </a:lnTo>
                  <a:lnTo>
                    <a:pt x="284" y="190"/>
                  </a:lnTo>
                  <a:lnTo>
                    <a:pt x="338" y="148"/>
                  </a:lnTo>
                  <a:lnTo>
                    <a:pt x="396" y="111"/>
                  </a:lnTo>
                  <a:lnTo>
                    <a:pt x="457" y="77"/>
                  </a:lnTo>
                  <a:lnTo>
                    <a:pt x="521" y="50"/>
                  </a:lnTo>
                  <a:lnTo>
                    <a:pt x="587" y="29"/>
                  </a:lnTo>
                  <a:lnTo>
                    <a:pt x="655" y="13"/>
                  </a:lnTo>
                  <a:lnTo>
                    <a:pt x="726" y="3"/>
                  </a:lnTo>
                  <a:lnTo>
                    <a:pt x="7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id="{F929E62F-82FB-0FFC-5DE9-0621ADF11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" y="871"/>
              <a:ext cx="145" cy="139"/>
            </a:xfrm>
            <a:custGeom>
              <a:avLst/>
              <a:gdLst>
                <a:gd name="T0" fmla="*/ 934 w 1590"/>
                <a:gd name="T1" fmla="*/ 12 h 1530"/>
                <a:gd name="T2" fmla="*/ 1133 w 1590"/>
                <a:gd name="T3" fmla="*/ 77 h 1530"/>
                <a:gd name="T4" fmla="*/ 1306 w 1590"/>
                <a:gd name="T5" fmla="*/ 189 h 1530"/>
                <a:gd name="T6" fmla="*/ 1443 w 1590"/>
                <a:gd name="T7" fmla="*/ 340 h 1530"/>
                <a:gd name="T8" fmla="*/ 1540 w 1590"/>
                <a:gd name="T9" fmla="*/ 523 h 1530"/>
                <a:gd name="T10" fmla="*/ 1587 w 1590"/>
                <a:gd name="T11" fmla="*/ 731 h 1530"/>
                <a:gd name="T12" fmla="*/ 1576 w 1590"/>
                <a:gd name="T13" fmla="*/ 948 h 1530"/>
                <a:gd name="T14" fmla="*/ 1512 w 1590"/>
                <a:gd name="T15" fmla="*/ 1148 h 1530"/>
                <a:gd name="T16" fmla="*/ 1402 w 1590"/>
                <a:gd name="T17" fmla="*/ 1322 h 1530"/>
                <a:gd name="T18" fmla="*/ 1251 w 1590"/>
                <a:gd name="T19" fmla="*/ 1460 h 1530"/>
                <a:gd name="T20" fmla="*/ 1109 w 1590"/>
                <a:gd name="T21" fmla="*/ 1466 h 1530"/>
                <a:gd name="T22" fmla="*/ 1020 w 1590"/>
                <a:gd name="T23" fmla="*/ 1284 h 1530"/>
                <a:gd name="T24" fmla="*/ 1087 w 1590"/>
                <a:gd name="T25" fmla="*/ 1271 h 1530"/>
                <a:gd name="T26" fmla="*/ 1136 w 1590"/>
                <a:gd name="T27" fmla="*/ 1234 h 1530"/>
                <a:gd name="T28" fmla="*/ 1156 w 1590"/>
                <a:gd name="T29" fmla="*/ 1172 h 1530"/>
                <a:gd name="T30" fmla="*/ 1141 w 1590"/>
                <a:gd name="T31" fmla="*/ 1119 h 1530"/>
                <a:gd name="T32" fmla="*/ 1099 w 1590"/>
                <a:gd name="T33" fmla="*/ 1090 h 1530"/>
                <a:gd name="T34" fmla="*/ 1049 w 1590"/>
                <a:gd name="T35" fmla="*/ 1091 h 1530"/>
                <a:gd name="T36" fmla="*/ 996 w 1590"/>
                <a:gd name="T37" fmla="*/ 1101 h 1530"/>
                <a:gd name="T38" fmla="*/ 926 w 1590"/>
                <a:gd name="T39" fmla="*/ 1097 h 1530"/>
                <a:gd name="T40" fmla="*/ 836 w 1590"/>
                <a:gd name="T41" fmla="*/ 1045 h 1530"/>
                <a:gd name="T42" fmla="*/ 762 w 1590"/>
                <a:gd name="T43" fmla="*/ 937 h 1530"/>
                <a:gd name="T44" fmla="*/ 759 w 1590"/>
                <a:gd name="T45" fmla="*/ 873 h 1530"/>
                <a:gd name="T46" fmla="*/ 904 w 1590"/>
                <a:gd name="T47" fmla="*/ 868 h 1530"/>
                <a:gd name="T48" fmla="*/ 939 w 1590"/>
                <a:gd name="T49" fmla="*/ 841 h 1530"/>
                <a:gd name="T50" fmla="*/ 944 w 1590"/>
                <a:gd name="T51" fmla="*/ 792 h 1530"/>
                <a:gd name="T52" fmla="*/ 919 w 1590"/>
                <a:gd name="T53" fmla="*/ 757 h 1530"/>
                <a:gd name="T54" fmla="*/ 864 w 1590"/>
                <a:gd name="T55" fmla="*/ 746 h 1530"/>
                <a:gd name="T56" fmla="*/ 695 w 1590"/>
                <a:gd name="T57" fmla="*/ 696 h 1530"/>
                <a:gd name="T58" fmla="*/ 676 w 1590"/>
                <a:gd name="T59" fmla="*/ 616 h 1530"/>
                <a:gd name="T60" fmla="*/ 694 w 1590"/>
                <a:gd name="T61" fmla="*/ 548 h 1530"/>
                <a:gd name="T62" fmla="*/ 742 w 1590"/>
                <a:gd name="T63" fmla="*/ 504 h 1530"/>
                <a:gd name="T64" fmla="*/ 805 w 1590"/>
                <a:gd name="T65" fmla="*/ 483 h 1530"/>
                <a:gd name="T66" fmla="*/ 879 w 1590"/>
                <a:gd name="T67" fmla="*/ 488 h 1530"/>
                <a:gd name="T68" fmla="*/ 929 w 1590"/>
                <a:gd name="T69" fmla="*/ 513 h 1530"/>
                <a:gd name="T70" fmla="*/ 956 w 1590"/>
                <a:gd name="T71" fmla="*/ 550 h 1530"/>
                <a:gd name="T72" fmla="*/ 975 w 1590"/>
                <a:gd name="T73" fmla="*/ 590 h 1530"/>
                <a:gd name="T74" fmla="*/ 997 w 1590"/>
                <a:gd name="T75" fmla="*/ 624 h 1530"/>
                <a:gd name="T76" fmla="*/ 1034 w 1590"/>
                <a:gd name="T77" fmla="*/ 643 h 1530"/>
                <a:gd name="T78" fmla="*/ 1092 w 1590"/>
                <a:gd name="T79" fmla="*/ 638 h 1530"/>
                <a:gd name="T80" fmla="*/ 1134 w 1590"/>
                <a:gd name="T81" fmla="*/ 607 h 1530"/>
                <a:gd name="T82" fmla="*/ 1151 w 1590"/>
                <a:gd name="T83" fmla="*/ 551 h 1530"/>
                <a:gd name="T84" fmla="*/ 1135 w 1590"/>
                <a:gd name="T85" fmla="*/ 483 h 1530"/>
                <a:gd name="T86" fmla="*/ 1089 w 1590"/>
                <a:gd name="T87" fmla="*/ 418 h 1530"/>
                <a:gd name="T88" fmla="*/ 1010 w 1590"/>
                <a:gd name="T89" fmla="*/ 364 h 1530"/>
                <a:gd name="T90" fmla="*/ 899 w 1590"/>
                <a:gd name="T91" fmla="*/ 330 h 1530"/>
                <a:gd name="T92" fmla="*/ 761 w 1590"/>
                <a:gd name="T93" fmla="*/ 325 h 1530"/>
                <a:gd name="T94" fmla="*/ 638 w 1590"/>
                <a:gd name="T95" fmla="*/ 359 h 1530"/>
                <a:gd name="T96" fmla="*/ 543 w 1590"/>
                <a:gd name="T97" fmla="*/ 427 h 1530"/>
                <a:gd name="T98" fmla="*/ 487 w 1590"/>
                <a:gd name="T99" fmla="*/ 525 h 1530"/>
                <a:gd name="T100" fmla="*/ 477 w 1590"/>
                <a:gd name="T101" fmla="*/ 634 h 1530"/>
                <a:gd name="T102" fmla="*/ 501 w 1590"/>
                <a:gd name="T103" fmla="*/ 721 h 1530"/>
                <a:gd name="T104" fmla="*/ 472 w 1590"/>
                <a:gd name="T105" fmla="*/ 747 h 1530"/>
                <a:gd name="T106" fmla="*/ 438 w 1590"/>
                <a:gd name="T107" fmla="*/ 767 h 1530"/>
                <a:gd name="T108" fmla="*/ 294 w 1590"/>
                <a:gd name="T109" fmla="*/ 733 h 1530"/>
                <a:gd name="T110" fmla="*/ 75 w 1590"/>
                <a:gd name="T111" fmla="*/ 697 h 1530"/>
                <a:gd name="T112" fmla="*/ 30 w 1590"/>
                <a:gd name="T113" fmla="*/ 559 h 1530"/>
                <a:gd name="T114" fmla="*/ 114 w 1590"/>
                <a:gd name="T115" fmla="*/ 376 h 1530"/>
                <a:gd name="T116" fmla="*/ 239 w 1590"/>
                <a:gd name="T117" fmla="*/ 222 h 1530"/>
                <a:gd name="T118" fmla="*/ 398 w 1590"/>
                <a:gd name="T119" fmla="*/ 103 h 1530"/>
                <a:gd name="T120" fmla="*/ 584 w 1590"/>
                <a:gd name="T121" fmla="*/ 27 h 1530"/>
                <a:gd name="T122" fmla="*/ 791 w 1590"/>
                <a:gd name="T123" fmla="*/ 0 h 1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0" h="1530">
                  <a:moveTo>
                    <a:pt x="791" y="0"/>
                  </a:moveTo>
                  <a:lnTo>
                    <a:pt x="863" y="3"/>
                  </a:lnTo>
                  <a:lnTo>
                    <a:pt x="934" y="12"/>
                  </a:lnTo>
                  <a:lnTo>
                    <a:pt x="1003" y="28"/>
                  </a:lnTo>
                  <a:lnTo>
                    <a:pt x="1069" y="50"/>
                  </a:lnTo>
                  <a:lnTo>
                    <a:pt x="1133" y="77"/>
                  </a:lnTo>
                  <a:lnTo>
                    <a:pt x="1194" y="109"/>
                  </a:lnTo>
                  <a:lnTo>
                    <a:pt x="1251" y="146"/>
                  </a:lnTo>
                  <a:lnTo>
                    <a:pt x="1306" y="189"/>
                  </a:lnTo>
                  <a:lnTo>
                    <a:pt x="1355" y="235"/>
                  </a:lnTo>
                  <a:lnTo>
                    <a:pt x="1402" y="286"/>
                  </a:lnTo>
                  <a:lnTo>
                    <a:pt x="1443" y="340"/>
                  </a:lnTo>
                  <a:lnTo>
                    <a:pt x="1480" y="398"/>
                  </a:lnTo>
                  <a:lnTo>
                    <a:pt x="1512" y="460"/>
                  </a:lnTo>
                  <a:lnTo>
                    <a:pt x="1540" y="523"/>
                  </a:lnTo>
                  <a:lnTo>
                    <a:pt x="1561" y="591"/>
                  </a:lnTo>
                  <a:lnTo>
                    <a:pt x="1577" y="659"/>
                  </a:lnTo>
                  <a:lnTo>
                    <a:pt x="1587" y="731"/>
                  </a:lnTo>
                  <a:lnTo>
                    <a:pt x="1590" y="804"/>
                  </a:lnTo>
                  <a:lnTo>
                    <a:pt x="1587" y="877"/>
                  </a:lnTo>
                  <a:lnTo>
                    <a:pt x="1576" y="948"/>
                  </a:lnTo>
                  <a:lnTo>
                    <a:pt x="1561" y="1017"/>
                  </a:lnTo>
                  <a:lnTo>
                    <a:pt x="1539" y="1085"/>
                  </a:lnTo>
                  <a:lnTo>
                    <a:pt x="1512" y="1148"/>
                  </a:lnTo>
                  <a:lnTo>
                    <a:pt x="1480" y="1209"/>
                  </a:lnTo>
                  <a:lnTo>
                    <a:pt x="1443" y="1268"/>
                  </a:lnTo>
                  <a:lnTo>
                    <a:pt x="1402" y="1322"/>
                  </a:lnTo>
                  <a:lnTo>
                    <a:pt x="1355" y="1373"/>
                  </a:lnTo>
                  <a:lnTo>
                    <a:pt x="1305" y="1418"/>
                  </a:lnTo>
                  <a:lnTo>
                    <a:pt x="1251" y="1460"/>
                  </a:lnTo>
                  <a:lnTo>
                    <a:pt x="1193" y="1497"/>
                  </a:lnTo>
                  <a:lnTo>
                    <a:pt x="1132" y="1530"/>
                  </a:lnTo>
                  <a:lnTo>
                    <a:pt x="1109" y="1466"/>
                  </a:lnTo>
                  <a:lnTo>
                    <a:pt x="1084" y="1404"/>
                  </a:lnTo>
                  <a:lnTo>
                    <a:pt x="1054" y="1344"/>
                  </a:lnTo>
                  <a:lnTo>
                    <a:pt x="1020" y="1284"/>
                  </a:lnTo>
                  <a:lnTo>
                    <a:pt x="1043" y="1282"/>
                  </a:lnTo>
                  <a:lnTo>
                    <a:pt x="1065" y="1277"/>
                  </a:lnTo>
                  <a:lnTo>
                    <a:pt x="1087" y="1271"/>
                  </a:lnTo>
                  <a:lnTo>
                    <a:pt x="1105" y="1260"/>
                  </a:lnTo>
                  <a:lnTo>
                    <a:pt x="1122" y="1249"/>
                  </a:lnTo>
                  <a:lnTo>
                    <a:pt x="1136" y="1234"/>
                  </a:lnTo>
                  <a:lnTo>
                    <a:pt x="1147" y="1217"/>
                  </a:lnTo>
                  <a:lnTo>
                    <a:pt x="1154" y="1196"/>
                  </a:lnTo>
                  <a:lnTo>
                    <a:pt x="1156" y="1172"/>
                  </a:lnTo>
                  <a:lnTo>
                    <a:pt x="1155" y="1152"/>
                  </a:lnTo>
                  <a:lnTo>
                    <a:pt x="1150" y="1134"/>
                  </a:lnTo>
                  <a:lnTo>
                    <a:pt x="1141" y="1119"/>
                  </a:lnTo>
                  <a:lnTo>
                    <a:pt x="1130" y="1105"/>
                  </a:lnTo>
                  <a:lnTo>
                    <a:pt x="1116" y="1096"/>
                  </a:lnTo>
                  <a:lnTo>
                    <a:pt x="1099" y="1090"/>
                  </a:lnTo>
                  <a:lnTo>
                    <a:pt x="1079" y="1088"/>
                  </a:lnTo>
                  <a:lnTo>
                    <a:pt x="1066" y="1089"/>
                  </a:lnTo>
                  <a:lnTo>
                    <a:pt x="1049" y="1091"/>
                  </a:lnTo>
                  <a:lnTo>
                    <a:pt x="1031" y="1095"/>
                  </a:lnTo>
                  <a:lnTo>
                    <a:pt x="1012" y="1098"/>
                  </a:lnTo>
                  <a:lnTo>
                    <a:pt x="996" y="1101"/>
                  </a:lnTo>
                  <a:lnTo>
                    <a:pt x="981" y="1102"/>
                  </a:lnTo>
                  <a:lnTo>
                    <a:pt x="953" y="1101"/>
                  </a:lnTo>
                  <a:lnTo>
                    <a:pt x="926" y="1097"/>
                  </a:lnTo>
                  <a:lnTo>
                    <a:pt x="901" y="1092"/>
                  </a:lnTo>
                  <a:lnTo>
                    <a:pt x="874" y="1086"/>
                  </a:lnTo>
                  <a:lnTo>
                    <a:pt x="836" y="1045"/>
                  </a:lnTo>
                  <a:lnTo>
                    <a:pt x="795" y="1006"/>
                  </a:lnTo>
                  <a:lnTo>
                    <a:pt x="753" y="969"/>
                  </a:lnTo>
                  <a:lnTo>
                    <a:pt x="762" y="937"/>
                  </a:lnTo>
                  <a:lnTo>
                    <a:pt x="766" y="905"/>
                  </a:lnTo>
                  <a:lnTo>
                    <a:pt x="764" y="889"/>
                  </a:lnTo>
                  <a:lnTo>
                    <a:pt x="759" y="873"/>
                  </a:lnTo>
                  <a:lnTo>
                    <a:pt x="864" y="873"/>
                  </a:lnTo>
                  <a:lnTo>
                    <a:pt x="886" y="872"/>
                  </a:lnTo>
                  <a:lnTo>
                    <a:pt x="904" y="868"/>
                  </a:lnTo>
                  <a:lnTo>
                    <a:pt x="919" y="862"/>
                  </a:lnTo>
                  <a:lnTo>
                    <a:pt x="931" y="853"/>
                  </a:lnTo>
                  <a:lnTo>
                    <a:pt x="939" y="841"/>
                  </a:lnTo>
                  <a:lnTo>
                    <a:pt x="944" y="827"/>
                  </a:lnTo>
                  <a:lnTo>
                    <a:pt x="946" y="809"/>
                  </a:lnTo>
                  <a:lnTo>
                    <a:pt x="944" y="792"/>
                  </a:lnTo>
                  <a:lnTo>
                    <a:pt x="939" y="778"/>
                  </a:lnTo>
                  <a:lnTo>
                    <a:pt x="931" y="765"/>
                  </a:lnTo>
                  <a:lnTo>
                    <a:pt x="919" y="757"/>
                  </a:lnTo>
                  <a:lnTo>
                    <a:pt x="904" y="751"/>
                  </a:lnTo>
                  <a:lnTo>
                    <a:pt x="886" y="747"/>
                  </a:lnTo>
                  <a:lnTo>
                    <a:pt x="864" y="746"/>
                  </a:lnTo>
                  <a:lnTo>
                    <a:pt x="720" y="746"/>
                  </a:lnTo>
                  <a:lnTo>
                    <a:pt x="707" y="721"/>
                  </a:lnTo>
                  <a:lnTo>
                    <a:pt x="695" y="696"/>
                  </a:lnTo>
                  <a:lnTo>
                    <a:pt x="686" y="669"/>
                  </a:lnTo>
                  <a:lnTo>
                    <a:pt x="678" y="643"/>
                  </a:lnTo>
                  <a:lnTo>
                    <a:pt x="676" y="616"/>
                  </a:lnTo>
                  <a:lnTo>
                    <a:pt x="678" y="591"/>
                  </a:lnTo>
                  <a:lnTo>
                    <a:pt x="685" y="568"/>
                  </a:lnTo>
                  <a:lnTo>
                    <a:pt x="694" y="548"/>
                  </a:lnTo>
                  <a:lnTo>
                    <a:pt x="707" y="531"/>
                  </a:lnTo>
                  <a:lnTo>
                    <a:pt x="723" y="516"/>
                  </a:lnTo>
                  <a:lnTo>
                    <a:pt x="742" y="504"/>
                  </a:lnTo>
                  <a:lnTo>
                    <a:pt x="761" y="495"/>
                  </a:lnTo>
                  <a:lnTo>
                    <a:pt x="783" y="488"/>
                  </a:lnTo>
                  <a:lnTo>
                    <a:pt x="805" y="483"/>
                  </a:lnTo>
                  <a:lnTo>
                    <a:pt x="828" y="482"/>
                  </a:lnTo>
                  <a:lnTo>
                    <a:pt x="856" y="483"/>
                  </a:lnTo>
                  <a:lnTo>
                    <a:pt x="879" y="488"/>
                  </a:lnTo>
                  <a:lnTo>
                    <a:pt x="899" y="494"/>
                  </a:lnTo>
                  <a:lnTo>
                    <a:pt x="915" y="502"/>
                  </a:lnTo>
                  <a:lnTo>
                    <a:pt x="929" y="513"/>
                  </a:lnTo>
                  <a:lnTo>
                    <a:pt x="940" y="524"/>
                  </a:lnTo>
                  <a:lnTo>
                    <a:pt x="949" y="536"/>
                  </a:lnTo>
                  <a:lnTo>
                    <a:pt x="956" y="550"/>
                  </a:lnTo>
                  <a:lnTo>
                    <a:pt x="964" y="564"/>
                  </a:lnTo>
                  <a:lnTo>
                    <a:pt x="970" y="577"/>
                  </a:lnTo>
                  <a:lnTo>
                    <a:pt x="975" y="590"/>
                  </a:lnTo>
                  <a:lnTo>
                    <a:pt x="981" y="602"/>
                  </a:lnTo>
                  <a:lnTo>
                    <a:pt x="988" y="613"/>
                  </a:lnTo>
                  <a:lnTo>
                    <a:pt x="997" y="624"/>
                  </a:lnTo>
                  <a:lnTo>
                    <a:pt x="1007" y="632"/>
                  </a:lnTo>
                  <a:lnTo>
                    <a:pt x="1019" y="638"/>
                  </a:lnTo>
                  <a:lnTo>
                    <a:pt x="1034" y="643"/>
                  </a:lnTo>
                  <a:lnTo>
                    <a:pt x="1051" y="645"/>
                  </a:lnTo>
                  <a:lnTo>
                    <a:pt x="1072" y="643"/>
                  </a:lnTo>
                  <a:lnTo>
                    <a:pt x="1092" y="638"/>
                  </a:lnTo>
                  <a:lnTo>
                    <a:pt x="1108" y="631"/>
                  </a:lnTo>
                  <a:lnTo>
                    <a:pt x="1123" y="621"/>
                  </a:lnTo>
                  <a:lnTo>
                    <a:pt x="1134" y="607"/>
                  </a:lnTo>
                  <a:lnTo>
                    <a:pt x="1143" y="591"/>
                  </a:lnTo>
                  <a:lnTo>
                    <a:pt x="1149" y="573"/>
                  </a:lnTo>
                  <a:lnTo>
                    <a:pt x="1151" y="551"/>
                  </a:lnTo>
                  <a:lnTo>
                    <a:pt x="1149" y="528"/>
                  </a:lnTo>
                  <a:lnTo>
                    <a:pt x="1143" y="506"/>
                  </a:lnTo>
                  <a:lnTo>
                    <a:pt x="1135" y="483"/>
                  </a:lnTo>
                  <a:lnTo>
                    <a:pt x="1123" y="461"/>
                  </a:lnTo>
                  <a:lnTo>
                    <a:pt x="1107" y="439"/>
                  </a:lnTo>
                  <a:lnTo>
                    <a:pt x="1089" y="418"/>
                  </a:lnTo>
                  <a:lnTo>
                    <a:pt x="1066" y="398"/>
                  </a:lnTo>
                  <a:lnTo>
                    <a:pt x="1039" y="379"/>
                  </a:lnTo>
                  <a:lnTo>
                    <a:pt x="1010" y="364"/>
                  </a:lnTo>
                  <a:lnTo>
                    <a:pt x="976" y="349"/>
                  </a:lnTo>
                  <a:lnTo>
                    <a:pt x="940" y="338"/>
                  </a:lnTo>
                  <a:lnTo>
                    <a:pt x="899" y="330"/>
                  </a:lnTo>
                  <a:lnTo>
                    <a:pt x="855" y="324"/>
                  </a:lnTo>
                  <a:lnTo>
                    <a:pt x="807" y="322"/>
                  </a:lnTo>
                  <a:lnTo>
                    <a:pt x="761" y="325"/>
                  </a:lnTo>
                  <a:lnTo>
                    <a:pt x="718" y="332"/>
                  </a:lnTo>
                  <a:lnTo>
                    <a:pt x="676" y="343"/>
                  </a:lnTo>
                  <a:lnTo>
                    <a:pt x="638" y="359"/>
                  </a:lnTo>
                  <a:lnTo>
                    <a:pt x="603" y="378"/>
                  </a:lnTo>
                  <a:lnTo>
                    <a:pt x="571" y="401"/>
                  </a:lnTo>
                  <a:lnTo>
                    <a:pt x="543" y="427"/>
                  </a:lnTo>
                  <a:lnTo>
                    <a:pt x="520" y="457"/>
                  </a:lnTo>
                  <a:lnTo>
                    <a:pt x="501" y="490"/>
                  </a:lnTo>
                  <a:lnTo>
                    <a:pt x="487" y="525"/>
                  </a:lnTo>
                  <a:lnTo>
                    <a:pt x="478" y="562"/>
                  </a:lnTo>
                  <a:lnTo>
                    <a:pt x="475" y="603"/>
                  </a:lnTo>
                  <a:lnTo>
                    <a:pt x="477" y="634"/>
                  </a:lnTo>
                  <a:lnTo>
                    <a:pt x="481" y="664"/>
                  </a:lnTo>
                  <a:lnTo>
                    <a:pt x="489" y="692"/>
                  </a:lnTo>
                  <a:lnTo>
                    <a:pt x="501" y="721"/>
                  </a:lnTo>
                  <a:lnTo>
                    <a:pt x="515" y="746"/>
                  </a:lnTo>
                  <a:lnTo>
                    <a:pt x="487" y="746"/>
                  </a:lnTo>
                  <a:lnTo>
                    <a:pt x="472" y="747"/>
                  </a:lnTo>
                  <a:lnTo>
                    <a:pt x="458" y="752"/>
                  </a:lnTo>
                  <a:lnTo>
                    <a:pt x="447" y="758"/>
                  </a:lnTo>
                  <a:lnTo>
                    <a:pt x="438" y="767"/>
                  </a:lnTo>
                  <a:lnTo>
                    <a:pt x="432" y="779"/>
                  </a:lnTo>
                  <a:lnTo>
                    <a:pt x="363" y="754"/>
                  </a:lnTo>
                  <a:lnTo>
                    <a:pt x="294" y="733"/>
                  </a:lnTo>
                  <a:lnTo>
                    <a:pt x="223" y="716"/>
                  </a:lnTo>
                  <a:lnTo>
                    <a:pt x="149" y="705"/>
                  </a:lnTo>
                  <a:lnTo>
                    <a:pt x="75" y="697"/>
                  </a:lnTo>
                  <a:lnTo>
                    <a:pt x="0" y="694"/>
                  </a:lnTo>
                  <a:lnTo>
                    <a:pt x="12" y="626"/>
                  </a:lnTo>
                  <a:lnTo>
                    <a:pt x="30" y="559"/>
                  </a:lnTo>
                  <a:lnTo>
                    <a:pt x="53" y="496"/>
                  </a:lnTo>
                  <a:lnTo>
                    <a:pt x="81" y="435"/>
                  </a:lnTo>
                  <a:lnTo>
                    <a:pt x="114" y="376"/>
                  </a:lnTo>
                  <a:lnTo>
                    <a:pt x="152" y="322"/>
                  </a:lnTo>
                  <a:lnTo>
                    <a:pt x="194" y="270"/>
                  </a:lnTo>
                  <a:lnTo>
                    <a:pt x="239" y="222"/>
                  </a:lnTo>
                  <a:lnTo>
                    <a:pt x="289" y="179"/>
                  </a:lnTo>
                  <a:lnTo>
                    <a:pt x="343" y="138"/>
                  </a:lnTo>
                  <a:lnTo>
                    <a:pt x="398" y="103"/>
                  </a:lnTo>
                  <a:lnTo>
                    <a:pt x="458" y="73"/>
                  </a:lnTo>
                  <a:lnTo>
                    <a:pt x="520" y="47"/>
                  </a:lnTo>
                  <a:lnTo>
                    <a:pt x="584" y="27"/>
                  </a:lnTo>
                  <a:lnTo>
                    <a:pt x="652" y="11"/>
                  </a:lnTo>
                  <a:lnTo>
                    <a:pt x="720" y="3"/>
                  </a:lnTo>
                  <a:lnTo>
                    <a:pt x="7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252E0744-BA97-7ABB-F32F-385A4B11F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2" y="1052"/>
              <a:ext cx="19" cy="30"/>
            </a:xfrm>
            <a:custGeom>
              <a:avLst/>
              <a:gdLst>
                <a:gd name="T0" fmla="*/ 0 w 204"/>
                <a:gd name="T1" fmla="*/ 0 h 328"/>
                <a:gd name="T2" fmla="*/ 23 w 204"/>
                <a:gd name="T3" fmla="*/ 5 h 328"/>
                <a:gd name="T4" fmla="*/ 47 w 204"/>
                <a:gd name="T5" fmla="*/ 11 h 328"/>
                <a:gd name="T6" fmla="*/ 69 w 204"/>
                <a:gd name="T7" fmla="*/ 17 h 328"/>
                <a:gd name="T8" fmla="*/ 92 w 204"/>
                <a:gd name="T9" fmla="*/ 26 h 328"/>
                <a:gd name="T10" fmla="*/ 115 w 204"/>
                <a:gd name="T11" fmla="*/ 36 h 328"/>
                <a:gd name="T12" fmla="*/ 135 w 204"/>
                <a:gd name="T13" fmla="*/ 47 h 328"/>
                <a:gd name="T14" fmla="*/ 154 w 204"/>
                <a:gd name="T15" fmla="*/ 61 h 328"/>
                <a:gd name="T16" fmla="*/ 171 w 204"/>
                <a:gd name="T17" fmla="*/ 77 h 328"/>
                <a:gd name="T18" fmla="*/ 184 w 204"/>
                <a:gd name="T19" fmla="*/ 94 h 328"/>
                <a:gd name="T20" fmla="*/ 194 w 204"/>
                <a:gd name="T21" fmla="*/ 115 h 328"/>
                <a:gd name="T22" fmla="*/ 202 w 204"/>
                <a:gd name="T23" fmla="*/ 139 h 328"/>
                <a:gd name="T24" fmla="*/ 204 w 204"/>
                <a:gd name="T25" fmla="*/ 165 h 328"/>
                <a:gd name="T26" fmla="*/ 202 w 204"/>
                <a:gd name="T27" fmla="*/ 191 h 328"/>
                <a:gd name="T28" fmla="*/ 195 w 204"/>
                <a:gd name="T29" fmla="*/ 215 h 328"/>
                <a:gd name="T30" fmla="*/ 185 w 204"/>
                <a:gd name="T31" fmla="*/ 236 h 328"/>
                <a:gd name="T32" fmla="*/ 173 w 204"/>
                <a:gd name="T33" fmla="*/ 254 h 328"/>
                <a:gd name="T34" fmla="*/ 157 w 204"/>
                <a:gd name="T35" fmla="*/ 271 h 328"/>
                <a:gd name="T36" fmla="*/ 139 w 204"/>
                <a:gd name="T37" fmla="*/ 286 h 328"/>
                <a:gd name="T38" fmla="*/ 119 w 204"/>
                <a:gd name="T39" fmla="*/ 297 h 328"/>
                <a:gd name="T40" fmla="*/ 97 w 204"/>
                <a:gd name="T41" fmla="*/ 307 h 328"/>
                <a:gd name="T42" fmla="*/ 73 w 204"/>
                <a:gd name="T43" fmla="*/ 316 h 328"/>
                <a:gd name="T44" fmla="*/ 50 w 204"/>
                <a:gd name="T45" fmla="*/ 321 h 328"/>
                <a:gd name="T46" fmla="*/ 25 w 204"/>
                <a:gd name="T47" fmla="*/ 326 h 328"/>
                <a:gd name="T48" fmla="*/ 0 w 204"/>
                <a:gd name="T49" fmla="*/ 328 h 328"/>
                <a:gd name="T50" fmla="*/ 0 w 204"/>
                <a:gd name="T5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4" h="328">
                  <a:moveTo>
                    <a:pt x="0" y="0"/>
                  </a:moveTo>
                  <a:lnTo>
                    <a:pt x="23" y="5"/>
                  </a:lnTo>
                  <a:lnTo>
                    <a:pt x="47" y="11"/>
                  </a:lnTo>
                  <a:lnTo>
                    <a:pt x="69" y="17"/>
                  </a:lnTo>
                  <a:lnTo>
                    <a:pt x="92" y="26"/>
                  </a:lnTo>
                  <a:lnTo>
                    <a:pt x="115" y="36"/>
                  </a:lnTo>
                  <a:lnTo>
                    <a:pt x="135" y="47"/>
                  </a:lnTo>
                  <a:lnTo>
                    <a:pt x="154" y="61"/>
                  </a:lnTo>
                  <a:lnTo>
                    <a:pt x="171" y="77"/>
                  </a:lnTo>
                  <a:lnTo>
                    <a:pt x="184" y="94"/>
                  </a:lnTo>
                  <a:lnTo>
                    <a:pt x="194" y="115"/>
                  </a:lnTo>
                  <a:lnTo>
                    <a:pt x="202" y="139"/>
                  </a:lnTo>
                  <a:lnTo>
                    <a:pt x="204" y="165"/>
                  </a:lnTo>
                  <a:lnTo>
                    <a:pt x="202" y="191"/>
                  </a:lnTo>
                  <a:lnTo>
                    <a:pt x="195" y="215"/>
                  </a:lnTo>
                  <a:lnTo>
                    <a:pt x="185" y="236"/>
                  </a:lnTo>
                  <a:lnTo>
                    <a:pt x="173" y="254"/>
                  </a:lnTo>
                  <a:lnTo>
                    <a:pt x="157" y="271"/>
                  </a:lnTo>
                  <a:lnTo>
                    <a:pt x="139" y="286"/>
                  </a:lnTo>
                  <a:lnTo>
                    <a:pt x="119" y="297"/>
                  </a:lnTo>
                  <a:lnTo>
                    <a:pt x="97" y="307"/>
                  </a:lnTo>
                  <a:lnTo>
                    <a:pt x="73" y="316"/>
                  </a:lnTo>
                  <a:lnTo>
                    <a:pt x="50" y="321"/>
                  </a:lnTo>
                  <a:lnTo>
                    <a:pt x="25" y="326"/>
                  </a:lnTo>
                  <a:lnTo>
                    <a:pt x="0" y="3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32">
              <a:extLst>
                <a:ext uri="{FF2B5EF4-FFF2-40B4-BE49-F238E27FC236}">
                  <a16:creationId xmlns:a16="http://schemas.microsoft.com/office/drawing/2014/main" id="{71E0DEDF-742A-A288-363D-C3045C8D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6" y="1004"/>
              <a:ext cx="17" cy="27"/>
            </a:xfrm>
            <a:custGeom>
              <a:avLst/>
              <a:gdLst>
                <a:gd name="T0" fmla="*/ 185 w 185"/>
                <a:gd name="T1" fmla="*/ 0 h 297"/>
                <a:gd name="T2" fmla="*/ 185 w 185"/>
                <a:gd name="T3" fmla="*/ 297 h 297"/>
                <a:gd name="T4" fmla="*/ 146 w 185"/>
                <a:gd name="T5" fmla="*/ 288 h 297"/>
                <a:gd name="T6" fmla="*/ 112 w 185"/>
                <a:gd name="T7" fmla="*/ 277 h 297"/>
                <a:gd name="T8" fmla="*/ 82 w 185"/>
                <a:gd name="T9" fmla="*/ 264 h 297"/>
                <a:gd name="T10" fmla="*/ 57 w 185"/>
                <a:gd name="T11" fmla="*/ 250 h 297"/>
                <a:gd name="T12" fmla="*/ 36 w 185"/>
                <a:gd name="T13" fmla="*/ 232 h 297"/>
                <a:gd name="T14" fmla="*/ 21 w 185"/>
                <a:gd name="T15" fmla="*/ 213 h 297"/>
                <a:gd name="T16" fmla="*/ 9 w 185"/>
                <a:gd name="T17" fmla="*/ 191 h 297"/>
                <a:gd name="T18" fmla="*/ 2 w 185"/>
                <a:gd name="T19" fmla="*/ 167 h 297"/>
                <a:gd name="T20" fmla="*/ 0 w 185"/>
                <a:gd name="T21" fmla="*/ 140 h 297"/>
                <a:gd name="T22" fmla="*/ 3 w 185"/>
                <a:gd name="T23" fmla="*/ 118 h 297"/>
                <a:gd name="T24" fmla="*/ 10 w 185"/>
                <a:gd name="T25" fmla="*/ 95 h 297"/>
                <a:gd name="T26" fmla="*/ 23 w 185"/>
                <a:gd name="T27" fmla="*/ 73 h 297"/>
                <a:gd name="T28" fmla="*/ 40 w 185"/>
                <a:gd name="T29" fmla="*/ 54 h 297"/>
                <a:gd name="T30" fmla="*/ 62 w 185"/>
                <a:gd name="T31" fmla="*/ 36 h 297"/>
                <a:gd name="T32" fmla="*/ 87 w 185"/>
                <a:gd name="T33" fmla="*/ 22 h 297"/>
                <a:gd name="T34" fmla="*/ 117 w 185"/>
                <a:gd name="T35" fmla="*/ 10 h 297"/>
                <a:gd name="T36" fmla="*/ 149 w 185"/>
                <a:gd name="T37" fmla="*/ 3 h 297"/>
                <a:gd name="T38" fmla="*/ 185 w 185"/>
                <a:gd name="T39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5" h="297">
                  <a:moveTo>
                    <a:pt x="185" y="0"/>
                  </a:moveTo>
                  <a:lnTo>
                    <a:pt x="185" y="297"/>
                  </a:lnTo>
                  <a:lnTo>
                    <a:pt x="146" y="288"/>
                  </a:lnTo>
                  <a:lnTo>
                    <a:pt x="112" y="277"/>
                  </a:lnTo>
                  <a:lnTo>
                    <a:pt x="82" y="264"/>
                  </a:lnTo>
                  <a:lnTo>
                    <a:pt x="57" y="250"/>
                  </a:lnTo>
                  <a:lnTo>
                    <a:pt x="36" y="232"/>
                  </a:lnTo>
                  <a:lnTo>
                    <a:pt x="21" y="213"/>
                  </a:lnTo>
                  <a:lnTo>
                    <a:pt x="9" y="191"/>
                  </a:lnTo>
                  <a:lnTo>
                    <a:pt x="2" y="167"/>
                  </a:lnTo>
                  <a:lnTo>
                    <a:pt x="0" y="140"/>
                  </a:lnTo>
                  <a:lnTo>
                    <a:pt x="3" y="118"/>
                  </a:lnTo>
                  <a:lnTo>
                    <a:pt x="10" y="95"/>
                  </a:lnTo>
                  <a:lnTo>
                    <a:pt x="23" y="73"/>
                  </a:lnTo>
                  <a:lnTo>
                    <a:pt x="40" y="54"/>
                  </a:lnTo>
                  <a:lnTo>
                    <a:pt x="62" y="36"/>
                  </a:lnTo>
                  <a:lnTo>
                    <a:pt x="87" y="22"/>
                  </a:lnTo>
                  <a:lnTo>
                    <a:pt x="117" y="10"/>
                  </a:lnTo>
                  <a:lnTo>
                    <a:pt x="149" y="3"/>
                  </a:lnTo>
                  <a:lnTo>
                    <a:pt x="1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66C98E4E-D0A1-E429-007A-708F70D10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6" y="952"/>
              <a:ext cx="182" cy="183"/>
            </a:xfrm>
            <a:custGeom>
              <a:avLst/>
              <a:gdLst>
                <a:gd name="T0" fmla="*/ 960 w 1999"/>
                <a:gd name="T1" fmla="*/ 281 h 2013"/>
                <a:gd name="T2" fmla="*/ 872 w 1999"/>
                <a:gd name="T3" fmla="*/ 406 h 2013"/>
                <a:gd name="T4" fmla="*/ 694 w 1999"/>
                <a:gd name="T5" fmla="*/ 479 h 2013"/>
                <a:gd name="T6" fmla="*/ 581 w 1999"/>
                <a:gd name="T7" fmla="*/ 624 h 2013"/>
                <a:gd name="T8" fmla="*/ 571 w 1999"/>
                <a:gd name="T9" fmla="*/ 826 h 2013"/>
                <a:gd name="T10" fmla="*/ 681 w 1999"/>
                <a:gd name="T11" fmla="*/ 980 h 2013"/>
                <a:gd name="T12" fmla="*/ 898 w 1999"/>
                <a:gd name="T13" fmla="*/ 1072 h 2013"/>
                <a:gd name="T14" fmla="*/ 862 w 1999"/>
                <a:gd name="T15" fmla="*/ 1416 h 2013"/>
                <a:gd name="T16" fmla="*/ 783 w 1999"/>
                <a:gd name="T17" fmla="*/ 1354 h 2013"/>
                <a:gd name="T18" fmla="*/ 750 w 1999"/>
                <a:gd name="T19" fmla="*/ 1275 h 2013"/>
                <a:gd name="T20" fmla="*/ 710 w 1999"/>
                <a:gd name="T21" fmla="*/ 1211 h 2013"/>
                <a:gd name="T22" fmla="*/ 612 w 1999"/>
                <a:gd name="T23" fmla="*/ 1192 h 2013"/>
                <a:gd name="T24" fmla="*/ 538 w 1999"/>
                <a:gd name="T25" fmla="*/ 1268 h 2013"/>
                <a:gd name="T26" fmla="*/ 564 w 1999"/>
                <a:gd name="T27" fmla="*/ 1404 h 2013"/>
                <a:gd name="T28" fmla="*/ 685 w 1999"/>
                <a:gd name="T29" fmla="*/ 1528 h 2013"/>
                <a:gd name="T30" fmla="*/ 899 w 1999"/>
                <a:gd name="T31" fmla="*/ 1598 h 2013"/>
                <a:gd name="T32" fmla="*/ 967 w 1999"/>
                <a:gd name="T33" fmla="*/ 1743 h 2013"/>
                <a:gd name="T34" fmla="*/ 1028 w 1999"/>
                <a:gd name="T35" fmla="*/ 1753 h 2013"/>
                <a:gd name="T36" fmla="*/ 1052 w 1999"/>
                <a:gd name="T37" fmla="*/ 1601 h 2013"/>
                <a:gd name="T38" fmla="*/ 1268 w 1999"/>
                <a:gd name="T39" fmla="*/ 1553 h 2013"/>
                <a:gd name="T40" fmla="*/ 1412 w 1999"/>
                <a:gd name="T41" fmla="*/ 1438 h 2013"/>
                <a:gd name="T42" fmla="*/ 1463 w 1999"/>
                <a:gd name="T43" fmla="*/ 1250 h 2013"/>
                <a:gd name="T44" fmla="*/ 1418 w 1999"/>
                <a:gd name="T45" fmla="*/ 1069 h 2013"/>
                <a:gd name="T46" fmla="*/ 1297 w 1999"/>
                <a:gd name="T47" fmla="*/ 961 h 2013"/>
                <a:gd name="T48" fmla="*/ 1128 w 1999"/>
                <a:gd name="T49" fmla="*/ 900 h 2013"/>
                <a:gd name="T50" fmla="*/ 1110 w 1999"/>
                <a:gd name="T51" fmla="*/ 574 h 2013"/>
                <a:gd name="T52" fmla="*/ 1205 w 1999"/>
                <a:gd name="T53" fmla="*/ 635 h 2013"/>
                <a:gd name="T54" fmla="*/ 1267 w 1999"/>
                <a:gd name="T55" fmla="*/ 711 h 2013"/>
                <a:gd name="T56" fmla="*/ 1341 w 1999"/>
                <a:gd name="T57" fmla="*/ 748 h 2013"/>
                <a:gd name="T58" fmla="*/ 1427 w 1999"/>
                <a:gd name="T59" fmla="*/ 706 h 2013"/>
                <a:gd name="T60" fmla="*/ 1433 w 1999"/>
                <a:gd name="T61" fmla="*/ 588 h 2013"/>
                <a:gd name="T62" fmla="*/ 1327 w 1999"/>
                <a:gd name="T63" fmla="*/ 478 h 2013"/>
                <a:gd name="T64" fmla="*/ 1168 w 1999"/>
                <a:gd name="T65" fmla="*/ 414 h 2013"/>
                <a:gd name="T66" fmla="*/ 1052 w 1999"/>
                <a:gd name="T67" fmla="*/ 308 h 2013"/>
                <a:gd name="T68" fmla="*/ 1016 w 1999"/>
                <a:gd name="T69" fmla="*/ 254 h 2013"/>
                <a:gd name="T70" fmla="*/ 1239 w 1999"/>
                <a:gd name="T71" fmla="*/ 29 h 2013"/>
                <a:gd name="T72" fmla="*/ 1589 w 1999"/>
                <a:gd name="T73" fmla="*/ 195 h 2013"/>
                <a:gd name="T74" fmla="*/ 1849 w 1999"/>
                <a:gd name="T75" fmla="*/ 477 h 2013"/>
                <a:gd name="T76" fmla="*/ 1985 w 1999"/>
                <a:gd name="T77" fmla="*/ 844 h 2013"/>
                <a:gd name="T78" fmla="*/ 1970 w 1999"/>
                <a:gd name="T79" fmla="*/ 1247 h 2013"/>
                <a:gd name="T80" fmla="*/ 1805 w 1999"/>
                <a:gd name="T81" fmla="*/ 1600 h 2013"/>
                <a:gd name="T82" fmla="*/ 1525 w 1999"/>
                <a:gd name="T83" fmla="*/ 1861 h 2013"/>
                <a:gd name="T84" fmla="*/ 1161 w 1999"/>
                <a:gd name="T85" fmla="*/ 1999 h 2013"/>
                <a:gd name="T86" fmla="*/ 760 w 1999"/>
                <a:gd name="T87" fmla="*/ 1982 h 2013"/>
                <a:gd name="T88" fmla="*/ 409 w 1999"/>
                <a:gd name="T89" fmla="*/ 1818 h 2013"/>
                <a:gd name="T90" fmla="*/ 150 w 1999"/>
                <a:gd name="T91" fmla="*/ 1535 h 2013"/>
                <a:gd name="T92" fmla="*/ 13 w 1999"/>
                <a:gd name="T93" fmla="*/ 1169 h 2013"/>
                <a:gd name="T94" fmla="*/ 29 w 1999"/>
                <a:gd name="T95" fmla="*/ 765 h 2013"/>
                <a:gd name="T96" fmla="*/ 193 w 1999"/>
                <a:gd name="T97" fmla="*/ 413 h 2013"/>
                <a:gd name="T98" fmla="*/ 473 w 1999"/>
                <a:gd name="T99" fmla="*/ 151 h 2013"/>
                <a:gd name="T100" fmla="*/ 837 w 1999"/>
                <a:gd name="T101" fmla="*/ 14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99" h="2013">
                  <a:moveTo>
                    <a:pt x="1003" y="252"/>
                  </a:moveTo>
                  <a:lnTo>
                    <a:pt x="989" y="254"/>
                  </a:lnTo>
                  <a:lnTo>
                    <a:pt x="978" y="260"/>
                  </a:lnTo>
                  <a:lnTo>
                    <a:pt x="967" y="270"/>
                  </a:lnTo>
                  <a:lnTo>
                    <a:pt x="960" y="281"/>
                  </a:lnTo>
                  <a:lnTo>
                    <a:pt x="955" y="295"/>
                  </a:lnTo>
                  <a:lnTo>
                    <a:pt x="953" y="308"/>
                  </a:lnTo>
                  <a:lnTo>
                    <a:pt x="953" y="398"/>
                  </a:lnTo>
                  <a:lnTo>
                    <a:pt x="913" y="400"/>
                  </a:lnTo>
                  <a:lnTo>
                    <a:pt x="872" y="406"/>
                  </a:lnTo>
                  <a:lnTo>
                    <a:pt x="833" y="414"/>
                  </a:lnTo>
                  <a:lnTo>
                    <a:pt x="795" y="426"/>
                  </a:lnTo>
                  <a:lnTo>
                    <a:pt x="760" y="440"/>
                  </a:lnTo>
                  <a:lnTo>
                    <a:pt x="726" y="458"/>
                  </a:lnTo>
                  <a:lnTo>
                    <a:pt x="694" y="479"/>
                  </a:lnTo>
                  <a:lnTo>
                    <a:pt x="665" y="502"/>
                  </a:lnTo>
                  <a:lnTo>
                    <a:pt x="639" y="528"/>
                  </a:lnTo>
                  <a:lnTo>
                    <a:pt x="616" y="557"/>
                  </a:lnTo>
                  <a:lnTo>
                    <a:pt x="596" y="589"/>
                  </a:lnTo>
                  <a:lnTo>
                    <a:pt x="581" y="624"/>
                  </a:lnTo>
                  <a:lnTo>
                    <a:pt x="570" y="662"/>
                  </a:lnTo>
                  <a:lnTo>
                    <a:pt x="562" y="702"/>
                  </a:lnTo>
                  <a:lnTo>
                    <a:pt x="560" y="747"/>
                  </a:lnTo>
                  <a:lnTo>
                    <a:pt x="562" y="788"/>
                  </a:lnTo>
                  <a:lnTo>
                    <a:pt x="571" y="826"/>
                  </a:lnTo>
                  <a:lnTo>
                    <a:pt x="583" y="862"/>
                  </a:lnTo>
                  <a:lnTo>
                    <a:pt x="601" y="896"/>
                  </a:lnTo>
                  <a:lnTo>
                    <a:pt x="623" y="926"/>
                  </a:lnTo>
                  <a:lnTo>
                    <a:pt x="650" y="954"/>
                  </a:lnTo>
                  <a:lnTo>
                    <a:pt x="681" y="980"/>
                  </a:lnTo>
                  <a:lnTo>
                    <a:pt x="716" y="1004"/>
                  </a:lnTo>
                  <a:lnTo>
                    <a:pt x="756" y="1025"/>
                  </a:lnTo>
                  <a:lnTo>
                    <a:pt x="800" y="1042"/>
                  </a:lnTo>
                  <a:lnTo>
                    <a:pt x="848" y="1059"/>
                  </a:lnTo>
                  <a:lnTo>
                    <a:pt x="898" y="1072"/>
                  </a:lnTo>
                  <a:lnTo>
                    <a:pt x="953" y="1084"/>
                  </a:lnTo>
                  <a:lnTo>
                    <a:pt x="953" y="1431"/>
                  </a:lnTo>
                  <a:lnTo>
                    <a:pt x="918" y="1428"/>
                  </a:lnTo>
                  <a:lnTo>
                    <a:pt x="888" y="1423"/>
                  </a:lnTo>
                  <a:lnTo>
                    <a:pt x="862" y="1416"/>
                  </a:lnTo>
                  <a:lnTo>
                    <a:pt x="840" y="1406"/>
                  </a:lnTo>
                  <a:lnTo>
                    <a:pt x="822" y="1395"/>
                  </a:lnTo>
                  <a:lnTo>
                    <a:pt x="806" y="1382"/>
                  </a:lnTo>
                  <a:lnTo>
                    <a:pt x="794" y="1369"/>
                  </a:lnTo>
                  <a:lnTo>
                    <a:pt x="783" y="1354"/>
                  </a:lnTo>
                  <a:lnTo>
                    <a:pt x="775" y="1339"/>
                  </a:lnTo>
                  <a:lnTo>
                    <a:pt x="768" y="1322"/>
                  </a:lnTo>
                  <a:lnTo>
                    <a:pt x="762" y="1306"/>
                  </a:lnTo>
                  <a:lnTo>
                    <a:pt x="756" y="1291"/>
                  </a:lnTo>
                  <a:lnTo>
                    <a:pt x="750" y="1275"/>
                  </a:lnTo>
                  <a:lnTo>
                    <a:pt x="744" y="1260"/>
                  </a:lnTo>
                  <a:lnTo>
                    <a:pt x="738" y="1245"/>
                  </a:lnTo>
                  <a:lnTo>
                    <a:pt x="731" y="1233"/>
                  </a:lnTo>
                  <a:lnTo>
                    <a:pt x="721" y="1220"/>
                  </a:lnTo>
                  <a:lnTo>
                    <a:pt x="710" y="1211"/>
                  </a:lnTo>
                  <a:lnTo>
                    <a:pt x="697" y="1201"/>
                  </a:lnTo>
                  <a:lnTo>
                    <a:pt x="680" y="1195"/>
                  </a:lnTo>
                  <a:lnTo>
                    <a:pt x="661" y="1192"/>
                  </a:lnTo>
                  <a:lnTo>
                    <a:pt x="638" y="1190"/>
                  </a:lnTo>
                  <a:lnTo>
                    <a:pt x="612" y="1192"/>
                  </a:lnTo>
                  <a:lnTo>
                    <a:pt x="590" y="1199"/>
                  </a:lnTo>
                  <a:lnTo>
                    <a:pt x="571" y="1211"/>
                  </a:lnTo>
                  <a:lnTo>
                    <a:pt x="556" y="1226"/>
                  </a:lnTo>
                  <a:lnTo>
                    <a:pt x="545" y="1245"/>
                  </a:lnTo>
                  <a:lnTo>
                    <a:pt x="538" y="1268"/>
                  </a:lnTo>
                  <a:lnTo>
                    <a:pt x="535" y="1295"/>
                  </a:lnTo>
                  <a:lnTo>
                    <a:pt x="537" y="1322"/>
                  </a:lnTo>
                  <a:lnTo>
                    <a:pt x="543" y="1349"/>
                  </a:lnTo>
                  <a:lnTo>
                    <a:pt x="552" y="1376"/>
                  </a:lnTo>
                  <a:lnTo>
                    <a:pt x="564" y="1404"/>
                  </a:lnTo>
                  <a:lnTo>
                    <a:pt x="582" y="1431"/>
                  </a:lnTo>
                  <a:lnTo>
                    <a:pt x="602" y="1457"/>
                  </a:lnTo>
                  <a:lnTo>
                    <a:pt x="626" y="1483"/>
                  </a:lnTo>
                  <a:lnTo>
                    <a:pt x="654" y="1506"/>
                  </a:lnTo>
                  <a:lnTo>
                    <a:pt x="685" y="1528"/>
                  </a:lnTo>
                  <a:lnTo>
                    <a:pt x="720" y="1548"/>
                  </a:lnTo>
                  <a:lnTo>
                    <a:pt x="760" y="1565"/>
                  </a:lnTo>
                  <a:lnTo>
                    <a:pt x="802" y="1579"/>
                  </a:lnTo>
                  <a:lnTo>
                    <a:pt x="849" y="1590"/>
                  </a:lnTo>
                  <a:lnTo>
                    <a:pt x="899" y="1598"/>
                  </a:lnTo>
                  <a:lnTo>
                    <a:pt x="953" y="1601"/>
                  </a:lnTo>
                  <a:lnTo>
                    <a:pt x="953" y="1704"/>
                  </a:lnTo>
                  <a:lnTo>
                    <a:pt x="955" y="1718"/>
                  </a:lnTo>
                  <a:lnTo>
                    <a:pt x="960" y="1731"/>
                  </a:lnTo>
                  <a:lnTo>
                    <a:pt x="967" y="1743"/>
                  </a:lnTo>
                  <a:lnTo>
                    <a:pt x="978" y="1753"/>
                  </a:lnTo>
                  <a:lnTo>
                    <a:pt x="989" y="1758"/>
                  </a:lnTo>
                  <a:lnTo>
                    <a:pt x="1003" y="1761"/>
                  </a:lnTo>
                  <a:lnTo>
                    <a:pt x="1016" y="1758"/>
                  </a:lnTo>
                  <a:lnTo>
                    <a:pt x="1028" y="1753"/>
                  </a:lnTo>
                  <a:lnTo>
                    <a:pt x="1038" y="1743"/>
                  </a:lnTo>
                  <a:lnTo>
                    <a:pt x="1046" y="1731"/>
                  </a:lnTo>
                  <a:lnTo>
                    <a:pt x="1050" y="1718"/>
                  </a:lnTo>
                  <a:lnTo>
                    <a:pt x="1052" y="1704"/>
                  </a:lnTo>
                  <a:lnTo>
                    <a:pt x="1052" y="1601"/>
                  </a:lnTo>
                  <a:lnTo>
                    <a:pt x="1101" y="1597"/>
                  </a:lnTo>
                  <a:lnTo>
                    <a:pt x="1146" y="1589"/>
                  </a:lnTo>
                  <a:lnTo>
                    <a:pt x="1190" y="1580"/>
                  </a:lnTo>
                  <a:lnTo>
                    <a:pt x="1230" y="1568"/>
                  </a:lnTo>
                  <a:lnTo>
                    <a:pt x="1268" y="1553"/>
                  </a:lnTo>
                  <a:lnTo>
                    <a:pt x="1303" y="1535"/>
                  </a:lnTo>
                  <a:lnTo>
                    <a:pt x="1335" y="1514"/>
                  </a:lnTo>
                  <a:lnTo>
                    <a:pt x="1364" y="1492"/>
                  </a:lnTo>
                  <a:lnTo>
                    <a:pt x="1389" y="1466"/>
                  </a:lnTo>
                  <a:lnTo>
                    <a:pt x="1412" y="1438"/>
                  </a:lnTo>
                  <a:lnTo>
                    <a:pt x="1429" y="1405"/>
                  </a:lnTo>
                  <a:lnTo>
                    <a:pt x="1444" y="1371"/>
                  </a:lnTo>
                  <a:lnTo>
                    <a:pt x="1455" y="1334"/>
                  </a:lnTo>
                  <a:lnTo>
                    <a:pt x="1461" y="1293"/>
                  </a:lnTo>
                  <a:lnTo>
                    <a:pt x="1463" y="1250"/>
                  </a:lnTo>
                  <a:lnTo>
                    <a:pt x="1461" y="1207"/>
                  </a:lnTo>
                  <a:lnTo>
                    <a:pt x="1456" y="1167"/>
                  </a:lnTo>
                  <a:lnTo>
                    <a:pt x="1446" y="1132"/>
                  </a:lnTo>
                  <a:lnTo>
                    <a:pt x="1433" y="1098"/>
                  </a:lnTo>
                  <a:lnTo>
                    <a:pt x="1418" y="1069"/>
                  </a:lnTo>
                  <a:lnTo>
                    <a:pt x="1398" y="1043"/>
                  </a:lnTo>
                  <a:lnTo>
                    <a:pt x="1377" y="1019"/>
                  </a:lnTo>
                  <a:lnTo>
                    <a:pt x="1353" y="998"/>
                  </a:lnTo>
                  <a:lnTo>
                    <a:pt x="1326" y="979"/>
                  </a:lnTo>
                  <a:lnTo>
                    <a:pt x="1297" y="961"/>
                  </a:lnTo>
                  <a:lnTo>
                    <a:pt x="1266" y="947"/>
                  </a:lnTo>
                  <a:lnTo>
                    <a:pt x="1234" y="933"/>
                  </a:lnTo>
                  <a:lnTo>
                    <a:pt x="1200" y="921"/>
                  </a:lnTo>
                  <a:lnTo>
                    <a:pt x="1165" y="910"/>
                  </a:lnTo>
                  <a:lnTo>
                    <a:pt x="1128" y="900"/>
                  </a:lnTo>
                  <a:lnTo>
                    <a:pt x="1090" y="892"/>
                  </a:lnTo>
                  <a:lnTo>
                    <a:pt x="1052" y="882"/>
                  </a:lnTo>
                  <a:lnTo>
                    <a:pt x="1052" y="567"/>
                  </a:lnTo>
                  <a:lnTo>
                    <a:pt x="1083" y="569"/>
                  </a:lnTo>
                  <a:lnTo>
                    <a:pt x="1110" y="574"/>
                  </a:lnTo>
                  <a:lnTo>
                    <a:pt x="1134" y="583"/>
                  </a:lnTo>
                  <a:lnTo>
                    <a:pt x="1154" y="593"/>
                  </a:lnTo>
                  <a:lnTo>
                    <a:pt x="1173" y="606"/>
                  </a:lnTo>
                  <a:lnTo>
                    <a:pt x="1190" y="620"/>
                  </a:lnTo>
                  <a:lnTo>
                    <a:pt x="1205" y="635"/>
                  </a:lnTo>
                  <a:lnTo>
                    <a:pt x="1218" y="650"/>
                  </a:lnTo>
                  <a:lnTo>
                    <a:pt x="1231" y="667"/>
                  </a:lnTo>
                  <a:lnTo>
                    <a:pt x="1243" y="682"/>
                  </a:lnTo>
                  <a:lnTo>
                    <a:pt x="1256" y="697"/>
                  </a:lnTo>
                  <a:lnTo>
                    <a:pt x="1267" y="711"/>
                  </a:lnTo>
                  <a:lnTo>
                    <a:pt x="1279" y="723"/>
                  </a:lnTo>
                  <a:lnTo>
                    <a:pt x="1293" y="733"/>
                  </a:lnTo>
                  <a:lnTo>
                    <a:pt x="1307" y="741"/>
                  </a:lnTo>
                  <a:lnTo>
                    <a:pt x="1323" y="746"/>
                  </a:lnTo>
                  <a:lnTo>
                    <a:pt x="1341" y="748"/>
                  </a:lnTo>
                  <a:lnTo>
                    <a:pt x="1362" y="746"/>
                  </a:lnTo>
                  <a:lnTo>
                    <a:pt x="1381" y="741"/>
                  </a:lnTo>
                  <a:lnTo>
                    <a:pt x="1398" y="732"/>
                  </a:lnTo>
                  <a:lnTo>
                    <a:pt x="1414" y="721"/>
                  </a:lnTo>
                  <a:lnTo>
                    <a:pt x="1427" y="706"/>
                  </a:lnTo>
                  <a:lnTo>
                    <a:pt x="1436" y="689"/>
                  </a:lnTo>
                  <a:lnTo>
                    <a:pt x="1443" y="668"/>
                  </a:lnTo>
                  <a:lnTo>
                    <a:pt x="1446" y="645"/>
                  </a:lnTo>
                  <a:lnTo>
                    <a:pt x="1443" y="615"/>
                  </a:lnTo>
                  <a:lnTo>
                    <a:pt x="1433" y="588"/>
                  </a:lnTo>
                  <a:lnTo>
                    <a:pt x="1420" y="562"/>
                  </a:lnTo>
                  <a:lnTo>
                    <a:pt x="1402" y="538"/>
                  </a:lnTo>
                  <a:lnTo>
                    <a:pt x="1380" y="516"/>
                  </a:lnTo>
                  <a:lnTo>
                    <a:pt x="1355" y="495"/>
                  </a:lnTo>
                  <a:lnTo>
                    <a:pt x="1327" y="478"/>
                  </a:lnTo>
                  <a:lnTo>
                    <a:pt x="1297" y="461"/>
                  </a:lnTo>
                  <a:lnTo>
                    <a:pt x="1266" y="446"/>
                  </a:lnTo>
                  <a:lnTo>
                    <a:pt x="1233" y="434"/>
                  </a:lnTo>
                  <a:lnTo>
                    <a:pt x="1201" y="424"/>
                  </a:lnTo>
                  <a:lnTo>
                    <a:pt x="1168" y="414"/>
                  </a:lnTo>
                  <a:lnTo>
                    <a:pt x="1136" y="407"/>
                  </a:lnTo>
                  <a:lnTo>
                    <a:pt x="1106" y="402"/>
                  </a:lnTo>
                  <a:lnTo>
                    <a:pt x="1078" y="399"/>
                  </a:lnTo>
                  <a:lnTo>
                    <a:pt x="1052" y="398"/>
                  </a:lnTo>
                  <a:lnTo>
                    <a:pt x="1052" y="308"/>
                  </a:lnTo>
                  <a:lnTo>
                    <a:pt x="1050" y="295"/>
                  </a:lnTo>
                  <a:lnTo>
                    <a:pt x="1046" y="281"/>
                  </a:lnTo>
                  <a:lnTo>
                    <a:pt x="1038" y="270"/>
                  </a:lnTo>
                  <a:lnTo>
                    <a:pt x="1028" y="260"/>
                  </a:lnTo>
                  <a:lnTo>
                    <a:pt x="1016" y="254"/>
                  </a:lnTo>
                  <a:lnTo>
                    <a:pt x="1003" y="252"/>
                  </a:lnTo>
                  <a:close/>
                  <a:moveTo>
                    <a:pt x="999" y="0"/>
                  </a:moveTo>
                  <a:lnTo>
                    <a:pt x="1081" y="3"/>
                  </a:lnTo>
                  <a:lnTo>
                    <a:pt x="1161" y="14"/>
                  </a:lnTo>
                  <a:lnTo>
                    <a:pt x="1239" y="29"/>
                  </a:lnTo>
                  <a:lnTo>
                    <a:pt x="1315" y="52"/>
                  </a:lnTo>
                  <a:lnTo>
                    <a:pt x="1388" y="79"/>
                  </a:lnTo>
                  <a:lnTo>
                    <a:pt x="1458" y="113"/>
                  </a:lnTo>
                  <a:lnTo>
                    <a:pt x="1525" y="151"/>
                  </a:lnTo>
                  <a:lnTo>
                    <a:pt x="1589" y="195"/>
                  </a:lnTo>
                  <a:lnTo>
                    <a:pt x="1649" y="243"/>
                  </a:lnTo>
                  <a:lnTo>
                    <a:pt x="1705" y="296"/>
                  </a:lnTo>
                  <a:lnTo>
                    <a:pt x="1758" y="352"/>
                  </a:lnTo>
                  <a:lnTo>
                    <a:pt x="1805" y="413"/>
                  </a:lnTo>
                  <a:lnTo>
                    <a:pt x="1849" y="477"/>
                  </a:lnTo>
                  <a:lnTo>
                    <a:pt x="1887" y="544"/>
                  </a:lnTo>
                  <a:lnTo>
                    <a:pt x="1920" y="615"/>
                  </a:lnTo>
                  <a:lnTo>
                    <a:pt x="1948" y="689"/>
                  </a:lnTo>
                  <a:lnTo>
                    <a:pt x="1970" y="765"/>
                  </a:lnTo>
                  <a:lnTo>
                    <a:pt x="1985" y="844"/>
                  </a:lnTo>
                  <a:lnTo>
                    <a:pt x="1995" y="924"/>
                  </a:lnTo>
                  <a:lnTo>
                    <a:pt x="1999" y="1006"/>
                  </a:lnTo>
                  <a:lnTo>
                    <a:pt x="1995" y="1089"/>
                  </a:lnTo>
                  <a:lnTo>
                    <a:pt x="1985" y="1169"/>
                  </a:lnTo>
                  <a:lnTo>
                    <a:pt x="1970" y="1247"/>
                  </a:lnTo>
                  <a:lnTo>
                    <a:pt x="1948" y="1324"/>
                  </a:lnTo>
                  <a:lnTo>
                    <a:pt x="1920" y="1397"/>
                  </a:lnTo>
                  <a:lnTo>
                    <a:pt x="1887" y="1468"/>
                  </a:lnTo>
                  <a:lnTo>
                    <a:pt x="1849" y="1535"/>
                  </a:lnTo>
                  <a:lnTo>
                    <a:pt x="1805" y="1600"/>
                  </a:lnTo>
                  <a:lnTo>
                    <a:pt x="1758" y="1660"/>
                  </a:lnTo>
                  <a:lnTo>
                    <a:pt x="1705" y="1717"/>
                  </a:lnTo>
                  <a:lnTo>
                    <a:pt x="1649" y="1769"/>
                  </a:lnTo>
                  <a:lnTo>
                    <a:pt x="1589" y="1818"/>
                  </a:lnTo>
                  <a:lnTo>
                    <a:pt x="1525" y="1861"/>
                  </a:lnTo>
                  <a:lnTo>
                    <a:pt x="1458" y="1899"/>
                  </a:lnTo>
                  <a:lnTo>
                    <a:pt x="1388" y="1933"/>
                  </a:lnTo>
                  <a:lnTo>
                    <a:pt x="1315" y="1961"/>
                  </a:lnTo>
                  <a:lnTo>
                    <a:pt x="1239" y="1982"/>
                  </a:lnTo>
                  <a:lnTo>
                    <a:pt x="1161" y="1999"/>
                  </a:lnTo>
                  <a:lnTo>
                    <a:pt x="1081" y="2008"/>
                  </a:lnTo>
                  <a:lnTo>
                    <a:pt x="999" y="2013"/>
                  </a:lnTo>
                  <a:lnTo>
                    <a:pt x="918" y="2008"/>
                  </a:lnTo>
                  <a:lnTo>
                    <a:pt x="837" y="1999"/>
                  </a:lnTo>
                  <a:lnTo>
                    <a:pt x="760" y="1982"/>
                  </a:lnTo>
                  <a:lnTo>
                    <a:pt x="683" y="1961"/>
                  </a:lnTo>
                  <a:lnTo>
                    <a:pt x="611" y="1933"/>
                  </a:lnTo>
                  <a:lnTo>
                    <a:pt x="541" y="1899"/>
                  </a:lnTo>
                  <a:lnTo>
                    <a:pt x="473" y="1861"/>
                  </a:lnTo>
                  <a:lnTo>
                    <a:pt x="409" y="1818"/>
                  </a:lnTo>
                  <a:lnTo>
                    <a:pt x="350" y="1769"/>
                  </a:lnTo>
                  <a:lnTo>
                    <a:pt x="293" y="1717"/>
                  </a:lnTo>
                  <a:lnTo>
                    <a:pt x="241" y="1660"/>
                  </a:lnTo>
                  <a:lnTo>
                    <a:pt x="193" y="1600"/>
                  </a:lnTo>
                  <a:lnTo>
                    <a:pt x="150" y="1535"/>
                  </a:lnTo>
                  <a:lnTo>
                    <a:pt x="112" y="1468"/>
                  </a:lnTo>
                  <a:lnTo>
                    <a:pt x="79" y="1397"/>
                  </a:lnTo>
                  <a:lnTo>
                    <a:pt x="51" y="1324"/>
                  </a:lnTo>
                  <a:lnTo>
                    <a:pt x="29" y="1247"/>
                  </a:lnTo>
                  <a:lnTo>
                    <a:pt x="13" y="1169"/>
                  </a:lnTo>
                  <a:lnTo>
                    <a:pt x="3" y="1089"/>
                  </a:lnTo>
                  <a:lnTo>
                    <a:pt x="0" y="1006"/>
                  </a:lnTo>
                  <a:lnTo>
                    <a:pt x="3" y="924"/>
                  </a:lnTo>
                  <a:lnTo>
                    <a:pt x="13" y="844"/>
                  </a:lnTo>
                  <a:lnTo>
                    <a:pt x="29" y="765"/>
                  </a:lnTo>
                  <a:lnTo>
                    <a:pt x="51" y="689"/>
                  </a:lnTo>
                  <a:lnTo>
                    <a:pt x="79" y="615"/>
                  </a:lnTo>
                  <a:lnTo>
                    <a:pt x="112" y="544"/>
                  </a:lnTo>
                  <a:lnTo>
                    <a:pt x="150" y="477"/>
                  </a:lnTo>
                  <a:lnTo>
                    <a:pt x="193" y="413"/>
                  </a:lnTo>
                  <a:lnTo>
                    <a:pt x="241" y="352"/>
                  </a:lnTo>
                  <a:lnTo>
                    <a:pt x="293" y="296"/>
                  </a:lnTo>
                  <a:lnTo>
                    <a:pt x="350" y="243"/>
                  </a:lnTo>
                  <a:lnTo>
                    <a:pt x="409" y="195"/>
                  </a:lnTo>
                  <a:lnTo>
                    <a:pt x="473" y="151"/>
                  </a:lnTo>
                  <a:lnTo>
                    <a:pt x="541" y="113"/>
                  </a:lnTo>
                  <a:lnTo>
                    <a:pt x="611" y="79"/>
                  </a:lnTo>
                  <a:lnTo>
                    <a:pt x="683" y="52"/>
                  </a:lnTo>
                  <a:lnTo>
                    <a:pt x="760" y="29"/>
                  </a:lnTo>
                  <a:lnTo>
                    <a:pt x="837" y="14"/>
                  </a:lnTo>
                  <a:lnTo>
                    <a:pt x="918" y="3"/>
                  </a:lnTo>
                  <a:lnTo>
                    <a:pt x="9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4936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699FE9-DBF8-2FAA-F110-DAF690CBC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chäftsmodell Pay-per-Part am Beispiel der </a:t>
            </a:r>
            <a:r>
              <a:rPr lang="de-DE" dirty="0" err="1"/>
              <a:t>TruLaser</a:t>
            </a:r>
            <a:r>
              <a:rPr lang="de-DE" dirty="0"/>
              <a:t> Center 7030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3C1819-22C1-AD84-344A-05A8414B65A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1483200"/>
            <a:ext cx="5580062" cy="4345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Kunde zahlt nicht für die Maschine sondern für den Output (Abrechnung pro produziertem Blechte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Maschine und Lager steht beim Kunden in der Halle (Eigentum von TRUMPF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Hochautomatisiertes Maschinenkonzept mit automatischer Teilesortieru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Im Pay-per-Part-Modell unterstützt TRUMPF im Betrieb der Maschine: </a:t>
            </a:r>
          </a:p>
          <a:p>
            <a:pPr marL="717750" lvl="3" indent="-285750"/>
            <a:r>
              <a:rPr lang="de-DE" dirty="0"/>
              <a:t>Maschine wird von TRUMPF programmiert, Aufträge werden eingelastet</a:t>
            </a:r>
          </a:p>
          <a:p>
            <a:pPr marL="717750" lvl="3" indent="-285750"/>
            <a:r>
              <a:rPr lang="de-DE" sz="1600" dirty="0"/>
              <a:t>Bei Produktionsunterbrechung greift das Remote Operation Center ein (per Maschinenfernsteuerung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2726D1-C235-1F58-E1DB-07A86725E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Lösungsansatz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1A3B826-E0BA-9316-FC33-47B861DBA7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7542" y="1487154"/>
            <a:ext cx="4705713" cy="242455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A8BA183C-2776-E2A2-ED98-B7A8FBE091FF}"/>
              </a:ext>
            </a:extLst>
          </p:cNvPr>
          <p:cNvSpPr/>
          <p:nvPr/>
        </p:nvSpPr>
        <p:spPr>
          <a:xfrm>
            <a:off x="6967542" y="3880175"/>
            <a:ext cx="2309965" cy="203360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2855121-5D89-F256-E8B7-1CF9530A8335}"/>
              </a:ext>
            </a:extLst>
          </p:cNvPr>
          <p:cNvSpPr/>
          <p:nvPr/>
        </p:nvSpPr>
        <p:spPr>
          <a:xfrm>
            <a:off x="9362975" y="3880175"/>
            <a:ext cx="2309965" cy="2033608"/>
          </a:xfrm>
          <a:prstGeom prst="rect">
            <a:avLst/>
          </a:prstGeom>
          <a:solidFill>
            <a:schemeClr val="lt1"/>
          </a:solidFill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709EB6C-15D1-8275-F5B8-118254C576B2}"/>
              </a:ext>
            </a:extLst>
          </p:cNvPr>
          <p:cNvSpPr/>
          <p:nvPr/>
        </p:nvSpPr>
        <p:spPr>
          <a:xfrm>
            <a:off x="6967542" y="4875629"/>
            <a:ext cx="2309966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7800" lvl="1" indent="-177800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Rohblechlager &amp; </a:t>
            </a:r>
            <a:r>
              <a:rPr lang="de-DE" sz="1200" dirty="0" err="1">
                <a:latin typeface="Arial" panose="020B0604020202020204" pitchFamily="34" charset="0"/>
                <a:sym typeface="Wingdings" panose="05000000000000000000" pitchFamily="2" charset="2"/>
              </a:rPr>
              <a:t>autom</a:t>
            </a: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. Materialzuführung</a:t>
            </a:r>
          </a:p>
          <a:p>
            <a:pPr marL="177800" lvl="1" indent="-177800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geschnittene, gestapelte &amp; sortierte Teile werden zurück gelagert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endParaRPr lang="de-DE" sz="1200" dirty="0">
              <a:latin typeface="Segoe UI"/>
              <a:cs typeface="Segoe UI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5CD776B-3626-181C-D63A-0AB8B7E5CD39}"/>
              </a:ext>
            </a:extLst>
          </p:cNvPr>
          <p:cNvGrpSpPr>
            <a:grpSpLocks noChangeAspect="1"/>
          </p:cNvGrpSpPr>
          <p:nvPr/>
        </p:nvGrpSpPr>
        <p:grpSpPr>
          <a:xfrm>
            <a:off x="10000497" y="4207877"/>
            <a:ext cx="981757" cy="343955"/>
            <a:chOff x="644100" y="4418664"/>
            <a:chExt cx="2322561" cy="796307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1562E38-29EE-D9A5-6E0E-65FAE1442B70}"/>
                </a:ext>
              </a:extLst>
            </p:cNvPr>
            <p:cNvSpPr/>
            <p:nvPr/>
          </p:nvSpPr>
          <p:spPr>
            <a:xfrm>
              <a:off x="644100" y="4551382"/>
              <a:ext cx="663589" cy="663589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360335B5-BC70-D64A-D43A-3E8C808E9C95}"/>
                </a:ext>
              </a:extLst>
            </p:cNvPr>
            <p:cNvSpPr/>
            <p:nvPr/>
          </p:nvSpPr>
          <p:spPr>
            <a:xfrm>
              <a:off x="1307689" y="4418664"/>
              <a:ext cx="995383" cy="796307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B4EC24AB-510C-BB9E-83E3-0B21F9CF8357}"/>
                </a:ext>
              </a:extLst>
            </p:cNvPr>
            <p:cNvSpPr/>
            <p:nvPr/>
          </p:nvSpPr>
          <p:spPr>
            <a:xfrm>
              <a:off x="2303072" y="4551382"/>
              <a:ext cx="663589" cy="663589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662698B5-FFA5-2153-E521-C14F58EFA624}"/>
                </a:ext>
              </a:extLst>
            </p:cNvPr>
            <p:cNvSpPr/>
            <p:nvPr/>
          </p:nvSpPr>
          <p:spPr>
            <a:xfrm>
              <a:off x="1472893" y="4551382"/>
              <a:ext cx="830179" cy="49769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83AB0794-1CF0-7A3E-933F-F32C2A609510}"/>
                </a:ext>
              </a:extLst>
            </p:cNvPr>
            <p:cNvSpPr/>
            <p:nvPr/>
          </p:nvSpPr>
          <p:spPr>
            <a:xfrm>
              <a:off x="1965747" y="471304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C8AF6938-1220-91E9-814B-525F9B462588}"/>
                </a:ext>
              </a:extLst>
            </p:cNvPr>
            <p:cNvSpPr/>
            <p:nvPr/>
          </p:nvSpPr>
          <p:spPr>
            <a:xfrm>
              <a:off x="1645562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45C10D4-E5D1-D641-C00B-301CD20667D8}"/>
                </a:ext>
              </a:extLst>
            </p:cNvPr>
            <p:cNvSpPr/>
            <p:nvPr/>
          </p:nvSpPr>
          <p:spPr>
            <a:xfrm>
              <a:off x="988745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DDC1E713-360F-813E-3B73-0D36E441B4D8}"/>
                </a:ext>
              </a:extLst>
            </p:cNvPr>
            <p:cNvCxnSpPr/>
            <p:nvPr/>
          </p:nvCxnSpPr>
          <p:spPr>
            <a:xfrm>
              <a:off x="1572679" y="4551382"/>
              <a:ext cx="0" cy="663589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6F08FEF-D1FC-755A-DFF5-D3AE844CBD62}"/>
                </a:ext>
              </a:extLst>
            </p:cNvPr>
            <p:cNvSpPr/>
            <p:nvPr/>
          </p:nvSpPr>
          <p:spPr>
            <a:xfrm>
              <a:off x="2454905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4FBD2686-F40C-D725-11EA-BFFCFE0E0487}"/>
                </a:ext>
              </a:extLst>
            </p:cNvPr>
            <p:cNvCxnSpPr/>
            <p:nvPr/>
          </p:nvCxnSpPr>
          <p:spPr>
            <a:xfrm>
              <a:off x="1898688" y="4551382"/>
              <a:ext cx="0" cy="663589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9DF76BA-E92F-D082-F579-1531BEB40AC8}"/>
                </a:ext>
              </a:extLst>
            </p:cNvPr>
            <p:cNvSpPr/>
            <p:nvPr/>
          </p:nvSpPr>
          <p:spPr>
            <a:xfrm>
              <a:off x="724156" y="5049074"/>
              <a:ext cx="497692" cy="165897"/>
            </a:xfrm>
            <a:prstGeom prst="rect">
              <a:avLst/>
            </a:prstGeom>
            <a:noFill/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4E0462F-6A7E-2E0E-0FD8-AB8BF57AEF0A}"/>
                </a:ext>
              </a:extLst>
            </p:cNvPr>
            <p:cNvSpPr/>
            <p:nvPr/>
          </p:nvSpPr>
          <p:spPr>
            <a:xfrm>
              <a:off x="2386021" y="5049074"/>
              <a:ext cx="497692" cy="165897"/>
            </a:xfrm>
            <a:prstGeom prst="rect">
              <a:avLst/>
            </a:prstGeom>
            <a:noFill/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A7EE8AFC-A28E-0835-302F-BF9D02709FD9}"/>
                </a:ext>
              </a:extLst>
            </p:cNvPr>
            <p:cNvCxnSpPr/>
            <p:nvPr/>
          </p:nvCxnSpPr>
          <p:spPr>
            <a:xfrm>
              <a:off x="2651861" y="4567972"/>
              <a:ext cx="0" cy="497692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9D5C2CAC-180E-E155-AFA9-4C9F35281C65}"/>
                </a:ext>
              </a:extLst>
            </p:cNvPr>
            <p:cNvCxnSpPr/>
            <p:nvPr/>
          </p:nvCxnSpPr>
          <p:spPr>
            <a:xfrm>
              <a:off x="2186944" y="4551382"/>
              <a:ext cx="0" cy="497692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7F4D6C8-05F7-50FA-539A-CDD9E5D21B7A}"/>
              </a:ext>
            </a:extLst>
          </p:cNvPr>
          <p:cNvGrpSpPr/>
          <p:nvPr/>
        </p:nvGrpSpPr>
        <p:grpSpPr>
          <a:xfrm>
            <a:off x="7721019" y="3951768"/>
            <a:ext cx="814967" cy="584497"/>
            <a:chOff x="1271291" y="2859742"/>
            <a:chExt cx="963561" cy="630346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72F6F4E0-262E-C201-AA29-D8B6B0F04781}"/>
                </a:ext>
              </a:extLst>
            </p:cNvPr>
            <p:cNvSpPr/>
            <p:nvPr/>
          </p:nvSpPr>
          <p:spPr>
            <a:xfrm>
              <a:off x="1359779" y="2936090"/>
              <a:ext cx="359205" cy="5539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1668C983-8243-F210-6E71-016A7D125274}"/>
                </a:ext>
              </a:extLst>
            </p:cNvPr>
            <p:cNvSpPr/>
            <p:nvPr/>
          </p:nvSpPr>
          <p:spPr>
            <a:xfrm>
              <a:off x="1875647" y="2936090"/>
              <a:ext cx="359205" cy="5539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789BB0A-DB1E-C193-1171-DA7C408CD867}"/>
                </a:ext>
              </a:extLst>
            </p:cNvPr>
            <p:cNvSpPr/>
            <p:nvPr/>
          </p:nvSpPr>
          <p:spPr>
            <a:xfrm>
              <a:off x="1696172" y="2935996"/>
              <a:ext cx="178411" cy="553998"/>
            </a:xfrm>
            <a:prstGeom prst="rect">
              <a:avLst/>
            </a:prstGeom>
            <a:solidFill>
              <a:srgbClr val="BFBFB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>
                <a:solidFill>
                  <a:schemeClr val="accent2">
                    <a:alpha val="81000"/>
                  </a:schemeClr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D6C2563-6FAD-B30A-813D-1D5980CAFF60}"/>
                </a:ext>
              </a:extLst>
            </p:cNvPr>
            <p:cNvSpPr/>
            <p:nvPr/>
          </p:nvSpPr>
          <p:spPr>
            <a:xfrm>
              <a:off x="1634176" y="2859742"/>
              <a:ext cx="324000" cy="744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4A935A77-33A8-4780-DCC0-E572A5E894C0}"/>
                </a:ext>
              </a:extLst>
            </p:cNvPr>
            <p:cNvSpPr/>
            <p:nvPr/>
          </p:nvSpPr>
          <p:spPr>
            <a:xfrm>
              <a:off x="1694514" y="3181181"/>
              <a:ext cx="178411" cy="3089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9A177358-08FA-DD61-D849-EA9933CB8606}"/>
                </a:ext>
              </a:extLst>
            </p:cNvPr>
            <p:cNvSpPr/>
            <p:nvPr/>
          </p:nvSpPr>
          <p:spPr>
            <a:xfrm>
              <a:off x="1271291" y="3181181"/>
              <a:ext cx="88488" cy="3089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EC7C0B2C-33B8-4D6A-3005-812A6AC0D6DA}"/>
                </a:ext>
              </a:extLst>
            </p:cNvPr>
            <p:cNvSpPr/>
            <p:nvPr/>
          </p:nvSpPr>
          <p:spPr>
            <a:xfrm>
              <a:off x="1360105" y="3352800"/>
              <a:ext cx="327854" cy="137288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F899D45E-A7EB-5BB3-D41C-4D7648DB3951}"/>
                </a:ext>
              </a:extLst>
            </p:cNvPr>
            <p:cNvSpPr/>
            <p:nvPr/>
          </p:nvSpPr>
          <p:spPr>
            <a:xfrm>
              <a:off x="1415411" y="2990348"/>
              <a:ext cx="218766" cy="3471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ACCBB69-154B-AD4F-A2C9-BB5D1A78E596}"/>
                </a:ext>
              </a:extLst>
            </p:cNvPr>
            <p:cNvSpPr/>
            <p:nvPr/>
          </p:nvSpPr>
          <p:spPr>
            <a:xfrm>
              <a:off x="1933262" y="2981384"/>
              <a:ext cx="218766" cy="4996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22F5FAFF-B61B-208E-F1A3-8FE61BA8F9BF}"/>
              </a:ext>
            </a:extLst>
          </p:cNvPr>
          <p:cNvSpPr/>
          <p:nvPr/>
        </p:nvSpPr>
        <p:spPr>
          <a:xfrm>
            <a:off x="9384237" y="4909059"/>
            <a:ext cx="2288703" cy="83099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177800" lvl="1" indent="-177800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Automatisches Beladen</a:t>
            </a:r>
          </a:p>
          <a:p>
            <a:pPr marL="177800" lvl="1" indent="-177800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Automatisches Entladen &amp; Sortieren </a:t>
            </a:r>
          </a:p>
          <a:p>
            <a:pPr marL="177800" lvl="1" indent="-177800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sym typeface="Wingdings" panose="05000000000000000000" pitchFamily="2" charset="2"/>
              </a:rPr>
              <a:t>Kratzerfreies Schneiden</a:t>
            </a:r>
            <a:endParaRPr lang="de-DE" sz="1200" dirty="0">
              <a:latin typeface="Segoe UI"/>
              <a:cs typeface="Segoe UI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A194830-7E97-C3DE-BC05-BB848D611507}"/>
              </a:ext>
            </a:extLst>
          </p:cNvPr>
          <p:cNvSpPr/>
          <p:nvPr/>
        </p:nvSpPr>
        <p:spPr>
          <a:xfrm>
            <a:off x="9556195" y="4614027"/>
            <a:ext cx="1756465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spcAft>
                <a:spcPts val="3000"/>
              </a:spcAft>
            </a:pPr>
            <a:r>
              <a:rPr lang="de-DE" sz="1200" b="1" i="0" dirty="0" err="1">
                <a:solidFill>
                  <a:srgbClr val="242424"/>
                </a:solidFill>
                <a:effectLst/>
                <a:latin typeface="Arial" panose="020B0604020202020204" pitchFamily="34" charset="0"/>
              </a:rPr>
              <a:t>TruLaser</a:t>
            </a:r>
            <a:r>
              <a:rPr lang="de-DE" sz="1200" b="1" i="0" dirty="0">
                <a:solidFill>
                  <a:srgbClr val="242424"/>
                </a:solidFill>
                <a:effectLst/>
                <a:latin typeface="Arial" panose="020B0604020202020204" pitchFamily="34" charset="0"/>
              </a:rPr>
              <a:t> Center 7030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7F10162-A268-16A5-2F20-D85EF2DE635B}"/>
              </a:ext>
            </a:extLst>
          </p:cNvPr>
          <p:cNvSpPr/>
          <p:nvPr/>
        </p:nvSpPr>
        <p:spPr>
          <a:xfrm>
            <a:off x="7275113" y="4614027"/>
            <a:ext cx="1607625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>
              <a:spcAft>
                <a:spcPts val="3000"/>
              </a:spcAft>
            </a:pPr>
            <a:r>
              <a:rPr lang="de-DE" sz="1200" b="1" i="0" dirty="0" err="1">
                <a:solidFill>
                  <a:srgbClr val="242424"/>
                </a:solidFill>
                <a:effectLst/>
                <a:latin typeface="Arial" panose="020B0604020202020204" pitchFamily="34" charset="0"/>
              </a:rPr>
              <a:t>TruStore</a:t>
            </a:r>
            <a:endParaRPr lang="de-DE" sz="1200" b="1" i="0" dirty="0">
              <a:solidFill>
                <a:srgbClr val="242424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9709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F985563-14C1-54E2-6374-E79C5F420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funktioniert das?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888B0B5-E5F3-AA89-0DF7-41791368D0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Technis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AB6634F-CEF9-2146-BF00-A312BFC73B55}"/>
              </a:ext>
            </a:extLst>
          </p:cNvPr>
          <p:cNvSpPr/>
          <p:nvPr/>
        </p:nvSpPr>
        <p:spPr>
          <a:xfrm>
            <a:off x="528961" y="4607117"/>
            <a:ext cx="11160124" cy="1440000"/>
          </a:xfrm>
          <a:prstGeom prst="rect">
            <a:avLst/>
          </a:prstGeom>
          <a:solidFill>
            <a:srgbClr val="DAE59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10">
              <a:lnSpc>
                <a:spcPct val="110000"/>
              </a:lnSpc>
              <a:buClr>
                <a:srgbClr val="4D4E53"/>
              </a:buClr>
              <a:buNone/>
            </a:pPr>
            <a:r>
              <a:rPr lang="de-DE" sz="1400" b="1" kern="0" dirty="0">
                <a:solidFill>
                  <a:srgbClr val="BBD03A"/>
                </a:solidFill>
                <a:ea typeface="Arial Unicode MS"/>
                <a:cs typeface="Arial"/>
              </a:rPr>
              <a:t>Kund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19F56F4-C508-C5F2-7F7A-C840D2080B71}"/>
              </a:ext>
            </a:extLst>
          </p:cNvPr>
          <p:cNvSpPr/>
          <p:nvPr/>
        </p:nvSpPr>
        <p:spPr>
          <a:xfrm>
            <a:off x="4083907" y="2968037"/>
            <a:ext cx="4053608" cy="139793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38000" rtlCol="0" anchor="ctr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400" dirty="0">
              <a:solidFill>
                <a:schemeClr val="tx1"/>
              </a:solidFill>
              <a:cs typeface="Rubik Medium" pitchFamily="2" charset="-79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B7BC70C6-D730-8F79-4FEA-14C7266B5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7415" y="3030386"/>
            <a:ext cx="985722" cy="834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6975D7F9-57F7-411E-E3AF-DDED104AD99F}"/>
              </a:ext>
            </a:extLst>
          </p:cNvPr>
          <p:cNvSpPr/>
          <p:nvPr/>
        </p:nvSpPr>
        <p:spPr>
          <a:xfrm>
            <a:off x="4281967" y="4719242"/>
            <a:ext cx="5567172" cy="1217678"/>
          </a:xfrm>
          <a:prstGeom prst="rect">
            <a:avLst/>
          </a:prstGeom>
          <a:solidFill>
            <a:srgbClr val="C9D3DC"/>
          </a:solidFill>
          <a:ln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10">
              <a:lnSpc>
                <a:spcPct val="110000"/>
              </a:lnSpc>
              <a:buClr>
                <a:srgbClr val="4D4E53"/>
              </a:buClr>
              <a:buNone/>
            </a:pPr>
            <a:r>
              <a:rPr lang="de-DE" sz="1400" b="1" kern="0" dirty="0">
                <a:solidFill>
                  <a:schemeClr val="hlink"/>
                </a:solidFill>
                <a:ea typeface="Arial Unicode MS"/>
                <a:cs typeface="Arial"/>
              </a:rPr>
              <a:t>Fertigungszell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5FFEB5C-9289-DF81-B9DD-6933648AB22D}"/>
              </a:ext>
            </a:extLst>
          </p:cNvPr>
          <p:cNvSpPr/>
          <p:nvPr/>
        </p:nvSpPr>
        <p:spPr>
          <a:xfrm>
            <a:off x="2365655" y="1310161"/>
            <a:ext cx="6505599" cy="144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10">
              <a:lnSpc>
                <a:spcPct val="110000"/>
              </a:lnSpc>
              <a:buClr>
                <a:srgbClr val="4D4E53"/>
              </a:buClr>
              <a:buNone/>
            </a:pPr>
            <a:r>
              <a:rPr lang="de-DE" sz="1400" b="1" kern="0" dirty="0">
                <a:solidFill>
                  <a:schemeClr val="hlink"/>
                </a:solidFill>
                <a:ea typeface="Arial Unicode MS"/>
                <a:cs typeface="Arial"/>
              </a:rPr>
              <a:t>TRUMPF </a:t>
            </a:r>
          </a:p>
          <a:p>
            <a:pPr marL="0" indent="0" defTabSz="1219110">
              <a:lnSpc>
                <a:spcPct val="110000"/>
              </a:lnSpc>
              <a:buClr>
                <a:srgbClr val="4D4E53"/>
              </a:buClr>
              <a:buNone/>
            </a:pPr>
            <a:r>
              <a:rPr lang="de-DE" sz="1400" b="1" kern="0" dirty="0">
                <a:solidFill>
                  <a:schemeClr val="hlink"/>
                </a:solidFill>
                <a:ea typeface="Arial Unicode MS"/>
                <a:cs typeface="Arial"/>
              </a:rPr>
              <a:t>Neukirch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C6D5FEB-515F-D5F0-581D-C9521887D59F}"/>
              </a:ext>
            </a:extLst>
          </p:cNvPr>
          <p:cNvGrpSpPr/>
          <p:nvPr/>
        </p:nvGrpSpPr>
        <p:grpSpPr>
          <a:xfrm>
            <a:off x="6096000" y="1596096"/>
            <a:ext cx="1547161" cy="906976"/>
            <a:chOff x="1299008" y="2545515"/>
            <a:chExt cx="1966858" cy="1153008"/>
          </a:xfrm>
        </p:grpSpPr>
        <p:pic>
          <p:nvPicPr>
            <p:cNvPr id="15" name="Grafik 14" descr="Benutzer mit einfarbiger Füllung">
              <a:extLst>
                <a:ext uri="{FF2B5EF4-FFF2-40B4-BE49-F238E27FC236}">
                  <a16:creationId xmlns:a16="http://schemas.microsoft.com/office/drawing/2014/main" id="{F0C4489D-B2FC-BECE-32EF-2753F55C5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945437" y="2545515"/>
              <a:ext cx="673999" cy="673998"/>
            </a:xfrm>
            <a:prstGeom prst="rect">
              <a:avLst/>
            </a:prstGeom>
          </p:spPr>
        </p:pic>
        <p:sp>
          <p:nvSpPr>
            <p:cNvPr id="16" name="Textfeld 119">
              <a:extLst>
                <a:ext uri="{FF2B5EF4-FFF2-40B4-BE49-F238E27FC236}">
                  <a16:creationId xmlns:a16="http://schemas.microsoft.com/office/drawing/2014/main" id="{9EF52559-4399-C420-BDE3-5853B1DAA6AA}"/>
                </a:ext>
              </a:extLst>
            </p:cNvPr>
            <p:cNvSpPr txBox="1"/>
            <p:nvPr/>
          </p:nvSpPr>
          <p:spPr>
            <a:xfrm>
              <a:off x="1299008" y="3111624"/>
              <a:ext cx="1966858" cy="586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200" b="0" i="0" dirty="0">
                  <a:solidFill>
                    <a:schemeClr val="tx1"/>
                  </a:solidFill>
                  <a:cs typeface="Rubik Medium" pitchFamily="2" charset="-79"/>
                </a:rPr>
                <a:t>Remote Service Operator (RSO)</a:t>
              </a:r>
            </a:p>
          </p:txBody>
        </p:sp>
      </p:grpSp>
      <p:pic>
        <p:nvPicPr>
          <p:cNvPr id="17" name="Grafik 16" descr="Cloud mit einfarbiger Füllung">
            <a:extLst>
              <a:ext uri="{FF2B5EF4-FFF2-40B4-BE49-F238E27FC236}">
                <a16:creationId xmlns:a16="http://schemas.microsoft.com/office/drawing/2014/main" id="{A149D355-E4B5-EE25-DBFD-1F257B29E52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147698" y="2910927"/>
            <a:ext cx="535926" cy="535926"/>
          </a:xfrm>
          <a:prstGeom prst="rect">
            <a:avLst/>
          </a:prstGeom>
        </p:spPr>
      </p:pic>
      <p:cxnSp>
        <p:nvCxnSpPr>
          <p:cNvPr id="18" name="Gewinkelte Verbindung 90">
            <a:extLst>
              <a:ext uri="{FF2B5EF4-FFF2-40B4-BE49-F238E27FC236}">
                <a16:creationId xmlns:a16="http://schemas.microsoft.com/office/drawing/2014/main" id="{C090EC6A-98C1-E193-D5BF-04237CF6F82B}"/>
              </a:ext>
            </a:extLst>
          </p:cNvPr>
          <p:cNvCxnSpPr>
            <a:cxnSpLocks/>
            <a:stCxn id="16" idx="2"/>
            <a:endCxn id="10" idx="0"/>
          </p:cNvCxnSpPr>
          <p:nvPr/>
        </p:nvCxnSpPr>
        <p:spPr>
          <a:xfrm rot="5400000">
            <a:off x="6257664" y="2356119"/>
            <a:ext cx="464965" cy="758870"/>
          </a:xfrm>
          <a:prstGeom prst="bentConnector3">
            <a:avLst>
              <a:gd name="adj1" fmla="val 37708"/>
            </a:avLst>
          </a:prstGeom>
          <a:ln w="222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nhaltsplatzhalter 10">
            <a:extLst>
              <a:ext uri="{FF2B5EF4-FFF2-40B4-BE49-F238E27FC236}">
                <a16:creationId xmlns:a16="http://schemas.microsoft.com/office/drawing/2014/main" id="{E072962F-94A4-05D1-2756-E76EE7E279B6}"/>
              </a:ext>
            </a:extLst>
          </p:cNvPr>
          <p:cNvPicPr/>
          <p:nvPr/>
        </p:nvPicPr>
        <p:blipFill rotWithShape="1">
          <a:blip r:embed="rId19"/>
          <a:srcRect l="15488" r="24234"/>
          <a:stretch/>
        </p:blipFill>
        <p:spPr bwMode="auto">
          <a:xfrm>
            <a:off x="7440730" y="1686910"/>
            <a:ext cx="1430524" cy="78798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8BEE19D-C55D-64C3-7842-EC4B208C97DB}"/>
              </a:ext>
            </a:extLst>
          </p:cNvPr>
          <p:cNvGrpSpPr>
            <a:grpSpLocks noChangeAspect="1"/>
          </p:cNvGrpSpPr>
          <p:nvPr/>
        </p:nvGrpSpPr>
        <p:grpSpPr>
          <a:xfrm>
            <a:off x="7276483" y="5020591"/>
            <a:ext cx="1257242" cy="440471"/>
            <a:chOff x="644100" y="4418664"/>
            <a:chExt cx="2322561" cy="796307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C14DC16B-7EEE-2B91-D751-2EFAD0330E5B}"/>
                </a:ext>
              </a:extLst>
            </p:cNvPr>
            <p:cNvSpPr/>
            <p:nvPr/>
          </p:nvSpPr>
          <p:spPr>
            <a:xfrm>
              <a:off x="644100" y="4551382"/>
              <a:ext cx="663589" cy="663589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D3EB71D-4717-3BBE-CB21-45E73D4A7BBA}"/>
                </a:ext>
              </a:extLst>
            </p:cNvPr>
            <p:cNvSpPr/>
            <p:nvPr/>
          </p:nvSpPr>
          <p:spPr>
            <a:xfrm>
              <a:off x="1307689" y="4418664"/>
              <a:ext cx="995383" cy="796307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6C38FF9-51BA-BE42-BCB2-C1FFE34543B6}"/>
                </a:ext>
              </a:extLst>
            </p:cNvPr>
            <p:cNvSpPr/>
            <p:nvPr/>
          </p:nvSpPr>
          <p:spPr>
            <a:xfrm>
              <a:off x="2303072" y="4551382"/>
              <a:ext cx="663589" cy="663589"/>
            </a:xfrm>
            <a:prstGeom prst="rect">
              <a:avLst/>
            </a:prstGeom>
            <a:solidFill>
              <a:schemeClr val="lt1"/>
            </a:solidFill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D147099-8905-5535-7FBF-23D2A44F55CA}"/>
                </a:ext>
              </a:extLst>
            </p:cNvPr>
            <p:cNvSpPr/>
            <p:nvPr/>
          </p:nvSpPr>
          <p:spPr>
            <a:xfrm>
              <a:off x="1472893" y="4551382"/>
              <a:ext cx="830179" cy="49769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075724E-2106-6532-F838-CB129586474E}"/>
                </a:ext>
              </a:extLst>
            </p:cNvPr>
            <p:cNvSpPr/>
            <p:nvPr/>
          </p:nvSpPr>
          <p:spPr>
            <a:xfrm>
              <a:off x="1965747" y="471304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B75B023-E722-BF80-BF1A-F43DE43475E9}"/>
                </a:ext>
              </a:extLst>
            </p:cNvPr>
            <p:cNvSpPr/>
            <p:nvPr/>
          </p:nvSpPr>
          <p:spPr>
            <a:xfrm>
              <a:off x="1645562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AA9C18FC-BA61-62B0-67FC-FDE53D2B0457}"/>
                </a:ext>
              </a:extLst>
            </p:cNvPr>
            <p:cNvSpPr/>
            <p:nvPr/>
          </p:nvSpPr>
          <p:spPr>
            <a:xfrm>
              <a:off x="988745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CF4543E9-C699-B793-CA00-49F5BFE8972B}"/>
                </a:ext>
              </a:extLst>
            </p:cNvPr>
            <p:cNvCxnSpPr/>
            <p:nvPr/>
          </p:nvCxnSpPr>
          <p:spPr>
            <a:xfrm>
              <a:off x="1572679" y="4551382"/>
              <a:ext cx="0" cy="663589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8752373-AA65-FB9C-7F81-3BCE3A6EE795}"/>
                </a:ext>
              </a:extLst>
            </p:cNvPr>
            <p:cNvSpPr/>
            <p:nvPr/>
          </p:nvSpPr>
          <p:spPr>
            <a:xfrm>
              <a:off x="2454905" y="4696455"/>
              <a:ext cx="165897" cy="207545"/>
            </a:xfrm>
            <a:prstGeom prst="rect">
              <a:avLst/>
            </a:prstGeom>
            <a:solidFill>
              <a:srgbClr val="92D050"/>
            </a:solidFill>
            <a:ln w="635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27ACB312-7536-7C00-AAF0-DC1CBE80DBD5}"/>
                </a:ext>
              </a:extLst>
            </p:cNvPr>
            <p:cNvCxnSpPr/>
            <p:nvPr/>
          </p:nvCxnSpPr>
          <p:spPr>
            <a:xfrm>
              <a:off x="1898688" y="4551382"/>
              <a:ext cx="0" cy="663589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7617D24-0246-7BB5-7EAC-569FDCB4AF6B}"/>
                </a:ext>
              </a:extLst>
            </p:cNvPr>
            <p:cNvSpPr/>
            <p:nvPr/>
          </p:nvSpPr>
          <p:spPr>
            <a:xfrm>
              <a:off x="724156" y="5049074"/>
              <a:ext cx="497692" cy="165897"/>
            </a:xfrm>
            <a:prstGeom prst="rect">
              <a:avLst/>
            </a:prstGeom>
            <a:noFill/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E607D8C7-BAC4-8789-D256-7E67CBE0446B}"/>
                </a:ext>
              </a:extLst>
            </p:cNvPr>
            <p:cNvSpPr/>
            <p:nvPr/>
          </p:nvSpPr>
          <p:spPr>
            <a:xfrm>
              <a:off x="2386021" y="5049074"/>
              <a:ext cx="497692" cy="165897"/>
            </a:xfrm>
            <a:prstGeom prst="rect">
              <a:avLst/>
            </a:prstGeom>
            <a:noFill/>
            <a:ln w="12700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1050" kern="0" dirty="0">
                <a:solidFill>
                  <a:srgbClr val="FFFFFF"/>
                </a:solidFill>
              </a:endParaRPr>
            </a:p>
          </p:txBody>
        </p: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259D89AD-ED40-D0FA-B55E-F7EACFEE4B54}"/>
                </a:ext>
              </a:extLst>
            </p:cNvPr>
            <p:cNvCxnSpPr/>
            <p:nvPr/>
          </p:nvCxnSpPr>
          <p:spPr>
            <a:xfrm>
              <a:off x="2651861" y="4567972"/>
              <a:ext cx="0" cy="497692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559268B9-27C2-4A93-F344-2ED0B6AB8AB6}"/>
                </a:ext>
              </a:extLst>
            </p:cNvPr>
            <p:cNvCxnSpPr/>
            <p:nvPr/>
          </p:nvCxnSpPr>
          <p:spPr>
            <a:xfrm>
              <a:off x="2186944" y="4551382"/>
              <a:ext cx="0" cy="497692"/>
            </a:xfrm>
            <a:prstGeom prst="line">
              <a:avLst/>
            </a:prstGeom>
            <a:noFill/>
            <a:ln w="9525" cap="flat" cmpd="sng" algn="ctr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35" name="Gewinkelte Verbindung 160">
            <a:extLst>
              <a:ext uri="{FF2B5EF4-FFF2-40B4-BE49-F238E27FC236}">
                <a16:creationId xmlns:a16="http://schemas.microsoft.com/office/drawing/2014/main" id="{C3A27A75-7ACC-5DD3-82FF-E322D636C4BA}"/>
              </a:ext>
            </a:extLst>
          </p:cNvPr>
          <p:cNvCxnSpPr>
            <a:cxnSpLocks/>
            <a:stCxn id="38" idx="0"/>
            <a:endCxn id="10" idx="2"/>
          </p:cNvCxnSpPr>
          <p:nvPr/>
        </p:nvCxnSpPr>
        <p:spPr>
          <a:xfrm rot="16200000" flipV="1">
            <a:off x="7392808" y="3083878"/>
            <a:ext cx="705159" cy="3269352"/>
          </a:xfrm>
          <a:prstGeom prst="bentConnector3">
            <a:avLst>
              <a:gd name="adj1" fmla="val 34466"/>
            </a:avLst>
          </a:prstGeom>
          <a:ln w="222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EAFB7C7C-FEDD-04BA-4F77-E240D3C456F5}"/>
              </a:ext>
            </a:extLst>
          </p:cNvPr>
          <p:cNvSpPr/>
          <p:nvPr/>
        </p:nvSpPr>
        <p:spPr>
          <a:xfrm>
            <a:off x="4274851" y="5129698"/>
            <a:ext cx="1621719" cy="77417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9D3DC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-85725" defTabSz="1219110">
              <a:buClr>
                <a:srgbClr val="4D4E53"/>
              </a:buClr>
            </a:pP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   </a:t>
            </a:r>
            <a:r>
              <a:rPr lang="de-DE" sz="1200" kern="0" dirty="0" err="1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TruLaser</a:t>
            </a: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 Center</a:t>
            </a:r>
          </a:p>
          <a:p>
            <a:pPr marL="0" indent="0" defTabSz="1219110">
              <a:buClr>
                <a:srgbClr val="4D4E53"/>
              </a:buClr>
              <a:buNone/>
            </a:pP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+ </a:t>
            </a:r>
            <a:r>
              <a:rPr lang="de-DE" sz="1200" kern="0" dirty="0" err="1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TruStore</a:t>
            </a:r>
            <a:endParaRPr lang="de-DE" sz="1200" kern="0" dirty="0">
              <a:solidFill>
                <a:schemeClr val="hlink"/>
              </a:solidFill>
              <a:latin typeface="Arial" panose="020B0604020202020204" pitchFamily="34" charset="0"/>
              <a:ea typeface="Arial Unicode MS"/>
              <a:cs typeface="Arial"/>
            </a:endParaRPr>
          </a:p>
          <a:p>
            <a:pPr marL="0" indent="0" defTabSz="1219110">
              <a:buClr>
                <a:srgbClr val="4D4E53"/>
              </a:buClr>
              <a:buNone/>
            </a:pP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+ </a:t>
            </a:r>
            <a:r>
              <a:rPr lang="de-DE" sz="1200" kern="0" dirty="0" err="1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Oseon</a:t>
            </a: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 Server</a:t>
            </a:r>
          </a:p>
          <a:p>
            <a:pPr marL="0" indent="0" defTabSz="1219110">
              <a:buClr>
                <a:srgbClr val="4D4E53"/>
              </a:buClr>
              <a:buNone/>
            </a:pPr>
            <a:r>
              <a:rPr lang="de-DE" sz="1200" kern="0" dirty="0">
                <a:solidFill>
                  <a:schemeClr val="hlink"/>
                </a:solidFill>
                <a:latin typeface="Arial" panose="020B0604020202020204" pitchFamily="34" charset="0"/>
                <a:ea typeface="Arial Unicode MS"/>
                <a:cs typeface="Arial"/>
              </a:rPr>
              <a:t>+ Remote Equipment</a:t>
            </a:r>
          </a:p>
        </p:txBody>
      </p:sp>
      <p:cxnSp>
        <p:nvCxnSpPr>
          <p:cNvPr id="37" name="Gewinkelte Verbindung 160">
            <a:extLst>
              <a:ext uri="{FF2B5EF4-FFF2-40B4-BE49-F238E27FC236}">
                <a16:creationId xmlns:a16="http://schemas.microsoft.com/office/drawing/2014/main" id="{225DF12D-DFC3-19CE-BA0A-F033805FC42B}"/>
              </a:ext>
            </a:extLst>
          </p:cNvPr>
          <p:cNvCxnSpPr>
            <a:cxnSpLocks/>
            <a:stCxn id="23" idx="3"/>
            <a:endCxn id="38" idx="1"/>
          </p:cNvCxnSpPr>
          <p:nvPr/>
        </p:nvCxnSpPr>
        <p:spPr>
          <a:xfrm flipV="1">
            <a:off x="8533725" y="5277532"/>
            <a:ext cx="639939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 descr="Server Silhouette">
            <a:extLst>
              <a:ext uri="{FF2B5EF4-FFF2-40B4-BE49-F238E27FC236}">
                <a16:creationId xmlns:a16="http://schemas.microsoft.com/office/drawing/2014/main" id="{8764762A-1945-ACC2-0C09-9BA7B3BA86D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173664" y="5071133"/>
            <a:ext cx="412798" cy="412798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EBFD19AB-94A5-0DB3-43C6-42CCF59999E2}"/>
              </a:ext>
            </a:extLst>
          </p:cNvPr>
          <p:cNvSpPr/>
          <p:nvPr/>
        </p:nvSpPr>
        <p:spPr>
          <a:xfrm>
            <a:off x="745816" y="5002058"/>
            <a:ext cx="1718252" cy="859799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10">
              <a:buClr>
                <a:srgbClr val="4D4E53"/>
              </a:buClr>
            </a:pPr>
            <a:r>
              <a:rPr lang="de-DE" sz="1400" b="1" kern="0" dirty="0">
                <a:solidFill>
                  <a:srgbClr val="35393C"/>
                </a:solidFill>
                <a:ea typeface="Arial Unicode MS"/>
                <a:cs typeface="Arial"/>
              </a:rPr>
              <a:t>Customer Order Interface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852BB8B-89FD-A49C-FBD7-D1DA5362530E}"/>
              </a:ext>
            </a:extLst>
          </p:cNvPr>
          <p:cNvGrpSpPr/>
          <p:nvPr/>
        </p:nvGrpSpPr>
        <p:grpSpPr>
          <a:xfrm>
            <a:off x="1238219" y="5377387"/>
            <a:ext cx="530178" cy="759677"/>
            <a:chOff x="1259548" y="2537139"/>
            <a:chExt cx="673999" cy="965752"/>
          </a:xfrm>
        </p:grpSpPr>
        <p:pic>
          <p:nvPicPr>
            <p:cNvPr id="41" name="Grafik 40" descr="Benutzer mit einfarbiger Füllung">
              <a:extLst>
                <a:ext uri="{FF2B5EF4-FFF2-40B4-BE49-F238E27FC236}">
                  <a16:creationId xmlns:a16="http://schemas.microsoft.com/office/drawing/2014/main" id="{FAA32398-8D93-F92E-449D-63444E58A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259548" y="2537139"/>
              <a:ext cx="673999" cy="673999"/>
            </a:xfrm>
            <a:prstGeom prst="rect">
              <a:avLst/>
            </a:prstGeom>
          </p:spPr>
        </p:pic>
        <p:sp>
          <p:nvSpPr>
            <p:cNvPr id="42" name="Textfeld 119">
              <a:extLst>
                <a:ext uri="{FF2B5EF4-FFF2-40B4-BE49-F238E27FC236}">
                  <a16:creationId xmlns:a16="http://schemas.microsoft.com/office/drawing/2014/main" id="{9952F35A-4DFC-82DC-26DA-292A9BA5CBDE}"/>
                </a:ext>
              </a:extLst>
            </p:cNvPr>
            <p:cNvSpPr txBox="1"/>
            <p:nvPr/>
          </p:nvSpPr>
          <p:spPr>
            <a:xfrm>
              <a:off x="1447047" y="3111624"/>
              <a:ext cx="234843" cy="3912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marL="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7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55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32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09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886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63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40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17" algn="l" defTabSz="91435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400" b="0" i="0" dirty="0">
                <a:solidFill>
                  <a:schemeClr val="tx1"/>
                </a:solidFill>
                <a:cs typeface="Rubik Medium" pitchFamily="2" charset="-79"/>
              </a:endParaRPr>
            </a:p>
          </p:txBody>
        </p:sp>
      </p:grpSp>
      <p:cxnSp>
        <p:nvCxnSpPr>
          <p:cNvPr id="43" name="Gewinkelte Verbindung 90">
            <a:extLst>
              <a:ext uri="{FF2B5EF4-FFF2-40B4-BE49-F238E27FC236}">
                <a16:creationId xmlns:a16="http://schemas.microsoft.com/office/drawing/2014/main" id="{0BFF3839-9817-1D34-ECFB-8EDBC38EE9D1}"/>
              </a:ext>
            </a:extLst>
          </p:cNvPr>
          <p:cNvCxnSpPr>
            <a:cxnSpLocks/>
            <a:stCxn id="39" idx="3"/>
            <a:endCxn id="13" idx="1"/>
          </p:cNvCxnSpPr>
          <p:nvPr/>
        </p:nvCxnSpPr>
        <p:spPr>
          <a:xfrm flipH="1" flipV="1">
            <a:off x="2365655" y="2030161"/>
            <a:ext cx="98413" cy="3401797"/>
          </a:xfrm>
          <a:prstGeom prst="bentConnector5">
            <a:avLst>
              <a:gd name="adj1" fmla="val -232286"/>
              <a:gd name="adj2" fmla="val 45736"/>
              <a:gd name="adj3" fmla="val 332286"/>
            </a:avLst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fik 43" descr="Monitor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8B26016-2FBB-6078-6ACC-C1691318B16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691656" y="5246660"/>
            <a:ext cx="673999" cy="673999"/>
          </a:xfrm>
          <a:prstGeom prst="rect">
            <a:avLst/>
          </a:prstGeom>
        </p:spPr>
      </p:pic>
      <p:sp>
        <p:nvSpPr>
          <p:cNvPr id="45" name="Textfeld 119">
            <a:extLst>
              <a:ext uri="{FF2B5EF4-FFF2-40B4-BE49-F238E27FC236}">
                <a16:creationId xmlns:a16="http://schemas.microsoft.com/office/drawing/2014/main" id="{3EECE370-58D6-8836-B105-D05D48D9117D}"/>
              </a:ext>
            </a:extLst>
          </p:cNvPr>
          <p:cNvSpPr txBox="1"/>
          <p:nvPr/>
        </p:nvSpPr>
        <p:spPr>
          <a:xfrm>
            <a:off x="1578263" y="5731146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400" b="0" i="0" dirty="0">
              <a:solidFill>
                <a:schemeClr val="tx1"/>
              </a:solidFill>
              <a:cs typeface="Rubik Medium" pitchFamily="2" charset="-79"/>
            </a:endParaRPr>
          </a:p>
        </p:txBody>
      </p:sp>
      <p:pic>
        <p:nvPicPr>
          <p:cNvPr id="47" name="Biegemaschinen - Bending Tools">
            <a:extLst>
              <a:ext uri="{FF2B5EF4-FFF2-40B4-BE49-F238E27FC236}">
                <a16:creationId xmlns:a16="http://schemas.microsoft.com/office/drawing/2014/main" id="{FBEA0672-612C-4CEF-3D7C-5F96CB61845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595594" y="5077798"/>
            <a:ext cx="595745" cy="500567"/>
          </a:xfrm>
          <a:prstGeom prst="rect">
            <a:avLst/>
          </a:prstGeom>
        </p:spPr>
      </p:pic>
      <p:pic>
        <p:nvPicPr>
          <p:cNvPr id="48" name="Software">
            <a:extLst>
              <a:ext uri="{FF2B5EF4-FFF2-40B4-BE49-F238E27FC236}">
                <a16:creationId xmlns:a16="http://schemas.microsoft.com/office/drawing/2014/main" id="{AD0C641C-946B-5925-1C85-B67ACED2F9E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71899" y="1643677"/>
            <a:ext cx="530179" cy="396801"/>
          </a:xfrm>
          <a:prstGeom prst="rect">
            <a:avLst/>
          </a:prstGeom>
        </p:spPr>
      </p:pic>
      <p:grpSp>
        <p:nvGrpSpPr>
          <p:cNvPr id="49" name="Arrow (2)">
            <a:extLst>
              <a:ext uri="{FF2B5EF4-FFF2-40B4-BE49-F238E27FC236}">
                <a16:creationId xmlns:a16="http://schemas.microsoft.com/office/drawing/2014/main" id="{5C27D3E9-CDF9-0A8C-5258-65B1275ED61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774158" y="5158786"/>
            <a:ext cx="269164" cy="338590"/>
            <a:chOff x="5097258" y="2241315"/>
            <a:chExt cx="460909" cy="579793"/>
          </a:xfrm>
        </p:grpSpPr>
        <p:sp>
          <p:nvSpPr>
            <p:cNvPr id="50" name="Chevron 17">
              <a:extLst>
                <a:ext uri="{FF2B5EF4-FFF2-40B4-BE49-F238E27FC236}">
                  <a16:creationId xmlns:a16="http://schemas.microsoft.com/office/drawing/2014/main" id="{3E811BAA-623A-7551-FB3E-F35FDED9486A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1" name="Chevron 18">
              <a:extLst>
                <a:ext uri="{FF2B5EF4-FFF2-40B4-BE49-F238E27FC236}">
                  <a16:creationId xmlns:a16="http://schemas.microsoft.com/office/drawing/2014/main" id="{B2866418-E4D3-644F-A8E0-050D5218E8E6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2" name="Textfeld 119">
            <a:extLst>
              <a:ext uri="{FF2B5EF4-FFF2-40B4-BE49-F238E27FC236}">
                <a16:creationId xmlns:a16="http://schemas.microsoft.com/office/drawing/2014/main" id="{3819CC36-F76F-7904-DAF5-FCD45BEECA84}"/>
              </a:ext>
            </a:extLst>
          </p:cNvPr>
          <p:cNvSpPr txBox="1"/>
          <p:nvPr/>
        </p:nvSpPr>
        <p:spPr>
          <a:xfrm>
            <a:off x="3364443" y="2030161"/>
            <a:ext cx="15471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b="0" i="0" dirty="0">
                <a:solidFill>
                  <a:schemeClr val="tx1"/>
                </a:solidFill>
                <a:cs typeface="Rubik Medium" pitchFamily="2" charset="-79"/>
              </a:rPr>
              <a:t>Programmierung &amp; Produktionsplanung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7EB8A603-4A3F-348F-352D-F0310EC7360C}"/>
              </a:ext>
            </a:extLst>
          </p:cNvPr>
          <p:cNvGrpSpPr/>
          <p:nvPr/>
        </p:nvGrpSpPr>
        <p:grpSpPr>
          <a:xfrm>
            <a:off x="6512487" y="4876565"/>
            <a:ext cx="742328" cy="584497"/>
            <a:chOff x="1271291" y="2859742"/>
            <a:chExt cx="963561" cy="630346"/>
          </a:xfrm>
        </p:grpSpPr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DE0AA2A5-2633-47FF-5F1F-0B7B6214558A}"/>
                </a:ext>
              </a:extLst>
            </p:cNvPr>
            <p:cNvSpPr/>
            <p:nvPr/>
          </p:nvSpPr>
          <p:spPr>
            <a:xfrm>
              <a:off x="1359779" y="2936090"/>
              <a:ext cx="359205" cy="5539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3718D4C2-AED5-C5B4-FC5E-327CFB0BA176}"/>
                </a:ext>
              </a:extLst>
            </p:cNvPr>
            <p:cNvSpPr/>
            <p:nvPr/>
          </p:nvSpPr>
          <p:spPr>
            <a:xfrm>
              <a:off x="1875647" y="2936090"/>
              <a:ext cx="359205" cy="5539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AF5BAB0-DC85-BF10-58B7-AB9F14214215}"/>
                </a:ext>
              </a:extLst>
            </p:cNvPr>
            <p:cNvSpPr/>
            <p:nvPr/>
          </p:nvSpPr>
          <p:spPr>
            <a:xfrm>
              <a:off x="1696172" y="2935996"/>
              <a:ext cx="178411" cy="553998"/>
            </a:xfrm>
            <a:prstGeom prst="rect">
              <a:avLst/>
            </a:prstGeom>
            <a:solidFill>
              <a:srgbClr val="BFBFB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>
                <a:solidFill>
                  <a:schemeClr val="accent2">
                    <a:alpha val="81000"/>
                  </a:schemeClr>
                </a:solidFill>
              </a:endParaRPr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945F6C36-D6F4-7F20-5466-0263461B037B}"/>
                </a:ext>
              </a:extLst>
            </p:cNvPr>
            <p:cNvSpPr/>
            <p:nvPr/>
          </p:nvSpPr>
          <p:spPr>
            <a:xfrm>
              <a:off x="1634176" y="2859742"/>
              <a:ext cx="324000" cy="744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809D4C76-AEDA-9355-1F7E-226E3D907ECA}"/>
                </a:ext>
              </a:extLst>
            </p:cNvPr>
            <p:cNvSpPr/>
            <p:nvPr/>
          </p:nvSpPr>
          <p:spPr>
            <a:xfrm>
              <a:off x="1694514" y="3181181"/>
              <a:ext cx="178411" cy="3089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F31ADC9E-DEB7-678F-0081-D0A65AEEC73F}"/>
                </a:ext>
              </a:extLst>
            </p:cNvPr>
            <p:cNvSpPr/>
            <p:nvPr/>
          </p:nvSpPr>
          <p:spPr>
            <a:xfrm>
              <a:off x="1271291" y="3181181"/>
              <a:ext cx="88488" cy="3089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5CAE2555-770C-531A-4DB6-0ED3383427E1}"/>
                </a:ext>
              </a:extLst>
            </p:cNvPr>
            <p:cNvSpPr/>
            <p:nvPr/>
          </p:nvSpPr>
          <p:spPr>
            <a:xfrm>
              <a:off x="1360105" y="3352800"/>
              <a:ext cx="327854" cy="137288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55753E70-4FCF-356F-7FDC-EC1301CD2545}"/>
                </a:ext>
              </a:extLst>
            </p:cNvPr>
            <p:cNvSpPr/>
            <p:nvPr/>
          </p:nvSpPr>
          <p:spPr>
            <a:xfrm>
              <a:off x="1415411" y="2990348"/>
              <a:ext cx="218766" cy="3471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E0CE897E-54E0-FEDE-FA1F-C881CA833599}"/>
                </a:ext>
              </a:extLst>
            </p:cNvPr>
            <p:cNvSpPr/>
            <p:nvPr/>
          </p:nvSpPr>
          <p:spPr>
            <a:xfrm>
              <a:off x="1933262" y="2981384"/>
              <a:ext cx="218766" cy="4996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dirty="0"/>
            </a:p>
          </p:txBody>
        </p:sp>
      </p:grpSp>
      <p:pic>
        <p:nvPicPr>
          <p:cNvPr id="63" name="Grafik 62" descr="Rohstoffe Silhouette">
            <a:extLst>
              <a:ext uri="{FF2B5EF4-FFF2-40B4-BE49-F238E27FC236}">
                <a16:creationId xmlns:a16="http://schemas.microsoft.com/office/drawing/2014/main" id="{6492C175-DEA8-1EED-30B5-79DCB132FBD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2979702" y="5050176"/>
            <a:ext cx="555811" cy="555811"/>
          </a:xfrm>
          <a:prstGeom prst="rect">
            <a:avLst/>
          </a:prstGeom>
        </p:spPr>
      </p:pic>
      <p:grpSp>
        <p:nvGrpSpPr>
          <p:cNvPr id="64" name="Arrow (2)">
            <a:extLst>
              <a:ext uri="{FF2B5EF4-FFF2-40B4-BE49-F238E27FC236}">
                <a16:creationId xmlns:a16="http://schemas.microsoft.com/office/drawing/2014/main" id="{EDE7329F-C5BB-3495-2315-283D7D4681F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087784" y="5158786"/>
            <a:ext cx="269164" cy="338590"/>
            <a:chOff x="5097258" y="2241315"/>
            <a:chExt cx="460909" cy="579793"/>
          </a:xfrm>
        </p:grpSpPr>
        <p:sp>
          <p:nvSpPr>
            <p:cNvPr id="65" name="Chevron 17">
              <a:extLst>
                <a:ext uri="{FF2B5EF4-FFF2-40B4-BE49-F238E27FC236}">
                  <a16:creationId xmlns:a16="http://schemas.microsoft.com/office/drawing/2014/main" id="{42D6F3A5-D58F-CACF-B100-AC1C39C8FB3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Chevron 18">
              <a:extLst>
                <a:ext uri="{FF2B5EF4-FFF2-40B4-BE49-F238E27FC236}">
                  <a16:creationId xmlns:a16="http://schemas.microsoft.com/office/drawing/2014/main" id="{75EE2FE5-2B72-B0D8-748D-AC17D86C58F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7" name="Arrow (2)">
            <a:extLst>
              <a:ext uri="{FF2B5EF4-FFF2-40B4-BE49-F238E27FC236}">
                <a16:creationId xmlns:a16="http://schemas.microsoft.com/office/drawing/2014/main" id="{2D330D70-A068-5C45-4F49-EA3679BFCD93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5349290" y="1861185"/>
            <a:ext cx="269164" cy="338590"/>
            <a:chOff x="5097258" y="2241315"/>
            <a:chExt cx="460909" cy="579793"/>
          </a:xfrm>
        </p:grpSpPr>
        <p:sp>
          <p:nvSpPr>
            <p:cNvPr id="68" name="Chevron 17">
              <a:extLst>
                <a:ext uri="{FF2B5EF4-FFF2-40B4-BE49-F238E27FC236}">
                  <a16:creationId xmlns:a16="http://schemas.microsoft.com/office/drawing/2014/main" id="{BEB2775F-F72C-E19E-DD86-F2D3F5353B4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5230609" y="2241315"/>
              <a:ext cx="327558" cy="579793"/>
            </a:xfrm>
            <a:prstGeom prst="chevron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Chevron 18">
              <a:extLst>
                <a:ext uri="{FF2B5EF4-FFF2-40B4-BE49-F238E27FC236}">
                  <a16:creationId xmlns:a16="http://schemas.microsoft.com/office/drawing/2014/main" id="{247D7214-36DD-A5F8-B13B-F4C1FD642A2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5097258" y="2333066"/>
              <a:ext cx="223887" cy="396287"/>
            </a:xfrm>
            <a:prstGeom prst="chevron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ts val="281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70" name="Textfeld 119">
            <a:extLst>
              <a:ext uri="{FF2B5EF4-FFF2-40B4-BE49-F238E27FC236}">
                <a16:creationId xmlns:a16="http://schemas.microsoft.com/office/drawing/2014/main" id="{614FF97B-BC45-25C7-807C-3076B507B08B}"/>
              </a:ext>
            </a:extLst>
          </p:cNvPr>
          <p:cNvSpPr txBox="1"/>
          <p:nvPr/>
        </p:nvSpPr>
        <p:spPr>
          <a:xfrm>
            <a:off x="4548013" y="3843781"/>
            <a:ext cx="13824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cs typeface="Rubik Medium" pitchFamily="2" charset="-79"/>
              </a:rPr>
              <a:t>Fernentstörung mit RSO Cockpit</a:t>
            </a:r>
          </a:p>
        </p:txBody>
      </p:sp>
      <p:sp>
        <p:nvSpPr>
          <p:cNvPr id="71" name="Textfeld 119">
            <a:extLst>
              <a:ext uri="{FF2B5EF4-FFF2-40B4-BE49-F238E27FC236}">
                <a16:creationId xmlns:a16="http://schemas.microsoft.com/office/drawing/2014/main" id="{C68CA28B-A8F9-416B-F441-FA6BD54D22AC}"/>
              </a:ext>
            </a:extLst>
          </p:cNvPr>
          <p:cNvSpPr txBox="1"/>
          <p:nvPr/>
        </p:nvSpPr>
        <p:spPr>
          <a:xfrm>
            <a:off x="6295879" y="3843781"/>
            <a:ext cx="19133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cs typeface="Rubik Medium" pitchFamily="2" charset="-79"/>
              </a:rPr>
              <a:t>Werker Assistenz</a:t>
            </a:r>
          </a:p>
          <a:p>
            <a:pPr algn="ctr"/>
            <a:r>
              <a:rPr lang="de-DE" sz="1200" dirty="0">
                <a:solidFill>
                  <a:schemeClr val="tx1"/>
                </a:solidFill>
                <a:cs typeface="Rubik Medium" pitchFamily="2" charset="-79"/>
              </a:rPr>
              <a:t>mit </a:t>
            </a:r>
            <a:r>
              <a:rPr lang="de-DE" sz="1200" dirty="0" err="1">
                <a:cs typeface="Rubik Medium" pitchFamily="2" charset="-79"/>
              </a:rPr>
              <a:t>visual</a:t>
            </a:r>
            <a:r>
              <a:rPr lang="de-DE" sz="1200" dirty="0">
                <a:cs typeface="Rubik Medium" pitchFamily="2" charset="-79"/>
              </a:rPr>
              <a:t> </a:t>
            </a:r>
            <a:r>
              <a:rPr lang="de-DE" sz="1200" dirty="0" err="1">
                <a:cs typeface="Rubik Medium" pitchFamily="2" charset="-79"/>
              </a:rPr>
              <a:t>a</a:t>
            </a:r>
            <a:r>
              <a:rPr lang="de-DE" sz="1200" dirty="0" err="1">
                <a:solidFill>
                  <a:schemeClr val="tx1"/>
                </a:solidFill>
                <a:cs typeface="Rubik Medium" pitchFamily="2" charset="-79"/>
              </a:rPr>
              <a:t>ssistance</a:t>
            </a:r>
            <a:r>
              <a:rPr lang="de-DE" sz="1200" dirty="0">
                <a:cs typeface="Rubik Medium" pitchFamily="2" charset="-79"/>
              </a:rPr>
              <a:t> </a:t>
            </a:r>
            <a:r>
              <a:rPr lang="de-DE" sz="1200" dirty="0" err="1">
                <a:cs typeface="Rubik Medium" pitchFamily="2" charset="-79"/>
              </a:rPr>
              <a:t>app</a:t>
            </a:r>
            <a:endParaRPr lang="de-DE" sz="1200" dirty="0">
              <a:solidFill>
                <a:schemeClr val="tx1"/>
              </a:solidFill>
              <a:cs typeface="Rubik Medium" pitchFamily="2" charset="-79"/>
            </a:endParaRPr>
          </a:p>
        </p:txBody>
      </p:sp>
      <p:sp>
        <p:nvSpPr>
          <p:cNvPr id="72" name="Textfeld 119">
            <a:extLst>
              <a:ext uri="{FF2B5EF4-FFF2-40B4-BE49-F238E27FC236}">
                <a16:creationId xmlns:a16="http://schemas.microsoft.com/office/drawing/2014/main" id="{33EFD816-7E33-7637-8FA3-596EE147B13B}"/>
              </a:ext>
            </a:extLst>
          </p:cNvPr>
          <p:cNvSpPr txBox="1"/>
          <p:nvPr/>
        </p:nvSpPr>
        <p:spPr>
          <a:xfrm>
            <a:off x="5886643" y="3941693"/>
            <a:ext cx="4592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chemeClr val="tx1"/>
                </a:solidFill>
                <a:cs typeface="Rubik Medium" pitchFamily="2" charset="-79"/>
              </a:rPr>
              <a:t>+</a:t>
            </a:r>
          </a:p>
        </p:txBody>
      </p:sp>
      <p:pic>
        <p:nvPicPr>
          <p:cNvPr id="73" name="Grafik 72">
            <a:extLst>
              <a:ext uri="{FF2B5EF4-FFF2-40B4-BE49-F238E27FC236}">
                <a16:creationId xmlns:a16="http://schemas.microsoft.com/office/drawing/2014/main" id="{BB8F2158-A7D7-2C06-4C7E-E57DCE500941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880273" y="3030386"/>
            <a:ext cx="575273" cy="7670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4" name="Textfeld 119">
            <a:extLst>
              <a:ext uri="{FF2B5EF4-FFF2-40B4-BE49-F238E27FC236}">
                <a16:creationId xmlns:a16="http://schemas.microsoft.com/office/drawing/2014/main" id="{3855B833-3831-2353-906F-FE7CC3DA35C9}"/>
              </a:ext>
            </a:extLst>
          </p:cNvPr>
          <p:cNvSpPr txBox="1"/>
          <p:nvPr/>
        </p:nvSpPr>
        <p:spPr>
          <a:xfrm>
            <a:off x="2484027" y="5510789"/>
            <a:ext cx="15471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b="0" i="0" dirty="0">
                <a:solidFill>
                  <a:schemeClr val="tx1"/>
                </a:solidFill>
                <a:cs typeface="Rubik Medium" pitchFamily="2" charset="-79"/>
              </a:rPr>
              <a:t>Rohmaterial zuführen</a:t>
            </a:r>
          </a:p>
        </p:txBody>
      </p:sp>
      <p:sp>
        <p:nvSpPr>
          <p:cNvPr id="75" name="Textfeld 119">
            <a:extLst>
              <a:ext uri="{FF2B5EF4-FFF2-40B4-BE49-F238E27FC236}">
                <a16:creationId xmlns:a16="http://schemas.microsoft.com/office/drawing/2014/main" id="{BB404CDF-7EC7-926B-8BD8-3C479045D231}"/>
              </a:ext>
            </a:extLst>
          </p:cNvPr>
          <p:cNvSpPr txBox="1"/>
          <p:nvPr/>
        </p:nvSpPr>
        <p:spPr>
          <a:xfrm>
            <a:off x="10116968" y="5605885"/>
            <a:ext cx="1547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b="0" i="0" dirty="0">
                <a:solidFill>
                  <a:schemeClr val="tx1"/>
                </a:solidFill>
                <a:cs typeface="Rubik Medium" pitchFamily="2" charset="-79"/>
              </a:rPr>
              <a:t>Folgearbeitsgang</a:t>
            </a:r>
          </a:p>
        </p:txBody>
      </p:sp>
      <p:sp>
        <p:nvSpPr>
          <p:cNvPr id="76" name="Textfeld 119">
            <a:extLst>
              <a:ext uri="{FF2B5EF4-FFF2-40B4-BE49-F238E27FC236}">
                <a16:creationId xmlns:a16="http://schemas.microsoft.com/office/drawing/2014/main" id="{13325DCA-2CD3-BBF3-1533-4E1A8221EFB8}"/>
              </a:ext>
            </a:extLst>
          </p:cNvPr>
          <p:cNvSpPr txBox="1"/>
          <p:nvPr/>
        </p:nvSpPr>
        <p:spPr>
          <a:xfrm>
            <a:off x="6202213" y="5442209"/>
            <a:ext cx="26825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3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7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>
                <a:cs typeface="Rubik Medium" pitchFamily="2" charset="-79"/>
              </a:rPr>
              <a:t>Beladen, Laserschneiden, </a:t>
            </a:r>
            <a:r>
              <a:rPr lang="de-DE" sz="1200" dirty="0" err="1">
                <a:cs typeface="Rubik Medium" pitchFamily="2" charset="-79"/>
              </a:rPr>
              <a:t>Absortieren</a:t>
            </a:r>
            <a:r>
              <a:rPr lang="de-DE" sz="1200" dirty="0">
                <a:cs typeface="Rubik Medium" pitchFamily="2" charset="-79"/>
              </a:rPr>
              <a:t> und Stapeln der Teile</a:t>
            </a:r>
            <a:endParaRPr lang="de-DE" sz="1200" b="0" i="0" dirty="0">
              <a:solidFill>
                <a:schemeClr val="tx1"/>
              </a:solidFill>
              <a:cs typeface="Rubik Medium" pitchFamily="2" charset="-79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F72E6A13-1BA8-8A0A-EC0C-8D15C68F9F8E}"/>
              </a:ext>
            </a:extLst>
          </p:cNvPr>
          <p:cNvSpPr/>
          <p:nvPr/>
        </p:nvSpPr>
        <p:spPr>
          <a:xfrm>
            <a:off x="6295879" y="1484313"/>
            <a:ext cx="2588922" cy="1017037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6D10EC-E0ED-CBF6-69B4-AF52FCB87BA8}"/>
              </a:ext>
            </a:extLst>
          </p:cNvPr>
          <p:cNvSpPr/>
          <p:nvPr/>
        </p:nvSpPr>
        <p:spPr>
          <a:xfrm>
            <a:off x="4083907" y="2977862"/>
            <a:ext cx="4053608" cy="1378588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9C580EF-B241-A961-E352-6A85A36A880E}"/>
              </a:ext>
            </a:extLst>
          </p:cNvPr>
          <p:cNvSpPr/>
          <p:nvPr/>
        </p:nvSpPr>
        <p:spPr>
          <a:xfrm>
            <a:off x="6213090" y="4761248"/>
            <a:ext cx="3405619" cy="1127994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693546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FE8593-E81D-F558-E714-6F983EA42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5481AF5-3274-D5E4-B3F9-CCFC35AE091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9EA036-4FC1-6A71-87FF-4D67C2DF9D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COI_V2">
            <a:hlinkClick r:id="" action="ppaction://media"/>
            <a:extLst>
              <a:ext uri="{FF2B5EF4-FFF2-40B4-BE49-F238E27FC236}">
                <a16:creationId xmlns:a16="http://schemas.microsoft.com/office/drawing/2014/main" id="{BE14A8B7-E6F5-15BA-0459-76C3148EB75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-272649"/>
            <a:ext cx="12215210" cy="7403297"/>
          </a:xfrm>
          <a:prstGeom prst="rect">
            <a:avLst/>
          </a:prstGeom>
        </p:spPr>
      </p:pic>
      <p:sp>
        <p:nvSpPr>
          <p:cNvPr id="6" name="Rechteck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6A66A8C6-A25D-A606-C4D2-5755D7A379BA}"/>
              </a:ext>
            </a:extLst>
          </p:cNvPr>
          <p:cNvSpPr/>
          <p:nvPr/>
        </p:nvSpPr>
        <p:spPr>
          <a:xfrm>
            <a:off x="11772266" y="6500496"/>
            <a:ext cx="363538" cy="2905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dirty="0">
                <a:sym typeface="Wingdings" panose="05000000000000000000" pitchFamily="2" charset="2"/>
              </a:rPr>
              <a:t>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6192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35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179C40-B6B0-35C7-1D45-9D44737CD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Contro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886644-5C79-2DD0-4838-68F9583580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Remote Service Operator (RSO) </a:t>
            </a:r>
            <a:r>
              <a:rPr lang="de-DE" dirty="0" err="1"/>
              <a:t>Console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47FEDB-A666-9947-B361-770CE1CFBA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812" y="1366791"/>
            <a:ext cx="9654347" cy="5194779"/>
          </a:xfrm>
          <a:prstGeom prst="rect">
            <a:avLst/>
          </a:prstGeo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EF87AB6-C078-6D1C-115F-E7EA7618C8D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3968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27360-CAFC-9013-A24F-815A7798F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Contro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5DB462C-8F15-35A3-D928-8B9824C8C0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Visual Assistance App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38B7B10-19FB-5700-06BE-ACBD100DAF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38" y="1440206"/>
            <a:ext cx="9643672" cy="512601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5653AF3A-E59F-9812-5A41-CAFB21775F5E}"/>
              </a:ext>
            </a:extLst>
          </p:cNvPr>
          <p:cNvSpPr/>
          <p:nvPr/>
        </p:nvSpPr>
        <p:spPr>
          <a:xfrm>
            <a:off x="5227983" y="3896139"/>
            <a:ext cx="1222513" cy="99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4C62074-5915-293A-B8E7-AD561170D483}"/>
              </a:ext>
            </a:extLst>
          </p:cNvPr>
          <p:cNvSpPr/>
          <p:nvPr/>
        </p:nvSpPr>
        <p:spPr>
          <a:xfrm>
            <a:off x="6264966" y="6105939"/>
            <a:ext cx="1222513" cy="993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579694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27"/>
  <p:tag name="MIO_EKGUID" val="aa0866db-8b1e-4441-9074-4271c62d3953"/>
  <p:tag name="MIO_VERSION" val="06.12.2022 13:56:25"/>
  <p:tag name="MIO_OBJECTNAME" val="TRUMPF Signet - 100 years DE | EN"/>
  <p:tag name="MIO_LASTDOWNLOADED" val="12.04.2023 09:07:55.443"/>
  <p:tag name="MIO_CDID" val="d30371fb-bd2b-4816-a0ce-bd6a1479ab6b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238a665-d686-476e-a182-03e663ec6f99"/>
  <p:tag name="MIO_EKGUID" val="e7711266-1164-48b7-9a56-c184eeea4eb8"/>
  <p:tag name="MIO_UPDATE" val="True"/>
  <p:tag name="MIO_VERSION" val="26.11.2021 10:04:27"/>
  <p:tag name="MIO_DBID" val="8236CE71-3243-41A3-904F-7EA9E80C736A"/>
  <p:tag name="MIO_LASTDOWNLOADED" val="17.04.2023 15:06:20.454"/>
  <p:tag name="MIO_OBJECTNAME" val="Arrow (2)"/>
  <p:tag name="MIO_LASTEDITORNAME" val="empower Brand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c87effe-929e-4609-9fd8-9288d5f57653"/>
  <p:tag name="MIO_GUID" val="ed77c02a-41a9-455a-afec-7c1aaac4816e"/>
  <p:tag name="MIO_UPDATE" val="True"/>
  <p:tag name="MIO_VERSION" val="30.11.2021 10:59:18"/>
  <p:tag name="MIO_DBID" val="8236CE71-3243-41A3-904F-7EA9E80C736A"/>
  <p:tag name="MIO_LASTDOWNLOADED" val="05.08.2022 08:01:43.195"/>
  <p:tag name="MIO_OBJECTNAME" val="Biegemaschinen - Bending Tools"/>
  <p:tag name="MIO_LASTEDITORNAME" val="empower Bran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3896c02-b465-4f6f-945a-4e0aac36d2dc"/>
  <p:tag name="MIO_GUID" val="7ba0d0e1-a38b-4de6-a66a-dfc29220a1e8"/>
  <p:tag name="MIO_UPDATE" val="True"/>
  <p:tag name="MIO_VERSION" val="30.11.2021 10:57:09"/>
  <p:tag name="MIO_DBID" val="8236CE71-3243-41A3-904F-7EA9E80C736A"/>
  <p:tag name="MIO_LASTDOWNLOADED" val="05.08.2022 08:04:22.121"/>
  <p:tag name="MIO_OBJECTNAME" val="Software"/>
  <p:tag name="MIO_LASTEDITORNAME" val="empower Brand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7711266-1164-48b7-9a56-c184eeea4eb8"/>
  <p:tag name="MIO_GUID" val="774ea7f4-a051-4a68-bc18-a871e8c17ee8"/>
  <p:tag name="MIO_UPDATE" val="True"/>
  <p:tag name="MIO_VERSION" val="26.02.2019 14:11:16"/>
  <p:tag name="MIO_DBID" val="8236CE71-3243-41A3-904F-7EA9E80C736A"/>
  <p:tag name="MIO_LASTDOWNLOADED" val="05.02.2022 10:49:10"/>
  <p:tag name="MIO_OBJECTNAME" val="Arrow (2)"/>
  <p:tag name="MIO_LASTEDITORNAME" val="empower enterpri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7711266-1164-48b7-9a56-c184eeea4eb8"/>
  <p:tag name="MIO_GUID" val="774ea7f4-a051-4a68-bc18-a871e8c17ee8"/>
  <p:tag name="MIO_UPDATE" val="True"/>
  <p:tag name="MIO_VERSION" val="26.02.2019 14:11:16"/>
  <p:tag name="MIO_DBID" val="8236CE71-3243-41A3-904F-7EA9E80C736A"/>
  <p:tag name="MIO_LASTDOWNLOADED" val="05.02.2022 10:49:10"/>
  <p:tag name="MIO_OBJECTNAME" val="Arrow (2)"/>
  <p:tag name="MIO_LASTEDITORNAME" val="empower enterpri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7711266-1164-48b7-9a56-c184eeea4eb8"/>
  <p:tag name="MIO_GUID" val="774ea7f4-a051-4a68-bc18-a871e8c17ee8"/>
  <p:tag name="MIO_UPDATE" val="True"/>
  <p:tag name="MIO_VERSION" val="26.02.2019 14:11:16"/>
  <p:tag name="MIO_DBID" val="8236CE71-3243-41A3-904F-7EA9E80C736A"/>
  <p:tag name="MIO_LASTDOWNLOADED" val="05.02.2022 10:49:10"/>
  <p:tag name="MIO_OBJECTNAME" val="Arrow (2)"/>
  <p:tag name="MIO_LASTEDITORNAME" val="empower enterpri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64719b-804d-43d4-ac8d-09ee6be3130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fe2548-a46b-4498-877d-f369900e7e6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1F5467-F4DE-4A09-BDA0-6CB5A4634DFB}"/>
</file>

<file path=customXml/itemProps2.xml><?xml version="1.0" encoding="utf-8"?>
<ds:datastoreItem xmlns:ds="http://schemas.openxmlformats.org/officeDocument/2006/customXml" ds:itemID="{6D6E3D6B-29A6-430C-A979-5B2230C8438D}">
  <ds:schemaRefs>
    <ds:schemaRef ds:uri="http://schemas.microsoft.com/office/2006/metadata/properties"/>
    <ds:schemaRef ds:uri="http://schemas.microsoft.com/office/infopath/2007/PartnerControls"/>
    <ds:schemaRef ds:uri="90ed1bf7-83fc-455d-ba27-00cceabe3758"/>
    <ds:schemaRef ds:uri="e9621dcd-59de-421f-9f04-04ef58d2cbc5"/>
  </ds:schemaRefs>
</ds:datastoreItem>
</file>

<file path=customXml/itemProps3.xml><?xml version="1.0" encoding="utf-8"?>
<ds:datastoreItem xmlns:ds="http://schemas.openxmlformats.org/officeDocument/2006/customXml" ds:itemID="{2B68EAED-3A7A-4178-9195-5F9A03284B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3</Words>
  <Application>Microsoft Office PowerPoint</Application>
  <PresentationFormat>Widescreen</PresentationFormat>
  <Paragraphs>130</Paragraphs>
  <Slides>10</Slides>
  <Notes>6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Trumpf PowerPoint 2019</vt:lpstr>
      <vt:lpstr>TRUMPF Pay-per-Part-Geschäftsmodell Einsatz von Remote Control in der Blechfertigung</vt:lpstr>
      <vt:lpstr>Vorstellung Bereich</vt:lpstr>
      <vt:lpstr>Vorstellung Bereich</vt:lpstr>
      <vt:lpstr>Geschäftsmodell Pay-per-Part am Beispiel der TruLaser Center 7030</vt:lpstr>
      <vt:lpstr>Geschäftsmodell Pay-per-Part am Beispiel der TruLaser Center 7030</vt:lpstr>
      <vt:lpstr>Wie funktioniert das?</vt:lpstr>
      <vt:lpstr>PowerPoint Presentation</vt:lpstr>
      <vt:lpstr>Remote Control</vt:lpstr>
      <vt:lpstr>Remote Control</vt:lpstr>
      <vt:lpstr>Frag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UMPF Pay-per-Part Einsatz von Remote Control in der Blechfertigung</dc:title>
  <dc:creator>Muetz, Michael</dc:creator>
  <cp:lastModifiedBy>Muetz, Michael</cp:lastModifiedBy>
  <cp:revision>39</cp:revision>
  <dcterms:created xsi:type="dcterms:W3CDTF">2023-04-12T07:03:47Z</dcterms:created>
  <dcterms:modified xsi:type="dcterms:W3CDTF">2023-04-21T09:1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